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760" r:id="rId2"/>
    <p:sldId id="761" r:id="rId3"/>
    <p:sldId id="762" r:id="rId4"/>
    <p:sldId id="763" r:id="rId5"/>
    <p:sldId id="764" r:id="rId6"/>
    <p:sldId id="765" r:id="rId7"/>
    <p:sldId id="766" r:id="rId8"/>
    <p:sldId id="767" r:id="rId9"/>
    <p:sldId id="769" r:id="rId10"/>
  </p:sldIdLst>
  <p:sldSz cx="9144000" cy="6858000" type="screen4x3"/>
  <p:notesSz cx="6797675" cy="9926638"/>
  <p:embeddedFontLst>
    <p:embeddedFont>
      <p:font typeface="黑体" panose="02010609060101010101" pitchFamily="49" charset="-122"/>
      <p:regular r:id="rId13"/>
    </p:embeddedFont>
    <p:embeddedFont>
      <p:font typeface="Calibri Light" panose="020F0302020204030204" pitchFamily="34" charset="0"/>
      <p:regular r:id="rId14"/>
      <p:italic r:id="rId15"/>
    </p:embeddedFont>
    <p:embeddedFont>
      <p:font typeface="微软雅黑" panose="020B0503020204020204" pitchFamily="34" charset="-122"/>
      <p:regular r:id="rId16"/>
      <p:bold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Microsoft JhengHei" panose="020B0604030504040204" pitchFamily="34" charset="-120"/>
      <p:regular r:id="rId22"/>
      <p:bold r:id="rId23"/>
    </p:embeddedFont>
  </p:embeddedFontLst>
  <p:custDataLst>
    <p:tags r:id="rId24"/>
  </p:custDataLst>
  <p:defaultTextStyle>
    <a:defPPr>
      <a:defRPr lang="en-US"/>
    </a:defPPr>
    <a:lvl1pPr algn="ctr" rtl="0" fontAlgn="base">
      <a:lnSpc>
        <a:spcPct val="90000"/>
      </a:lnSpc>
      <a:spcBef>
        <a:spcPct val="50000"/>
      </a:spcBef>
      <a:spcAft>
        <a:spcPct val="0"/>
      </a:spcAft>
      <a:buFont typeface="Wingdings" panose="05000000000000000000" pitchFamily="2" charset="2"/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ctr" rtl="0" fontAlgn="base">
      <a:lnSpc>
        <a:spcPct val="90000"/>
      </a:lnSpc>
      <a:spcBef>
        <a:spcPct val="50000"/>
      </a:spcBef>
      <a:spcAft>
        <a:spcPct val="0"/>
      </a:spcAft>
      <a:buFont typeface="Wingdings" panose="05000000000000000000" pitchFamily="2" charset="2"/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ctr" rtl="0" fontAlgn="base">
      <a:lnSpc>
        <a:spcPct val="90000"/>
      </a:lnSpc>
      <a:spcBef>
        <a:spcPct val="50000"/>
      </a:spcBef>
      <a:spcAft>
        <a:spcPct val="0"/>
      </a:spcAft>
      <a:buFont typeface="Wingdings" panose="05000000000000000000" pitchFamily="2" charset="2"/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ctr" rtl="0" fontAlgn="base">
      <a:lnSpc>
        <a:spcPct val="90000"/>
      </a:lnSpc>
      <a:spcBef>
        <a:spcPct val="50000"/>
      </a:spcBef>
      <a:spcAft>
        <a:spcPct val="0"/>
      </a:spcAft>
      <a:buFont typeface="Wingdings" panose="05000000000000000000" pitchFamily="2" charset="2"/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ctr" rtl="0" fontAlgn="base">
      <a:lnSpc>
        <a:spcPct val="90000"/>
      </a:lnSpc>
      <a:spcBef>
        <a:spcPct val="50000"/>
      </a:spcBef>
      <a:spcAft>
        <a:spcPct val="0"/>
      </a:spcAft>
      <a:buFont typeface="Wingdings" panose="05000000000000000000" pitchFamily="2" charset="2"/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en Lie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5187"/>
    <a:srgbClr val="800080"/>
    <a:srgbClr val="009999"/>
    <a:srgbClr val="003173"/>
    <a:srgbClr val="D3D3D3"/>
    <a:srgbClr val="6291D0"/>
    <a:srgbClr val="969696"/>
    <a:srgbClr val="F36F21"/>
    <a:srgbClr val="E7EFF9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81" autoAdjust="0"/>
    <p:restoredTop sz="99206" autoAdjust="0"/>
  </p:normalViewPr>
  <p:slideViewPr>
    <p:cSldViewPr snapToGrid="0">
      <p:cViewPr>
        <p:scale>
          <a:sx n="75" d="100"/>
          <a:sy n="75" d="100"/>
        </p:scale>
        <p:origin x="-1314" y="78"/>
      </p:cViewPr>
      <p:guideLst>
        <p:guide orient="horz" pos="862"/>
        <p:guide orient="horz" pos="1778"/>
        <p:guide orient="horz" pos="783"/>
        <p:guide orient="horz" pos="3600"/>
        <p:guide pos="2364"/>
        <p:guide pos="4708"/>
        <p:guide pos="56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t" anchorCtr="0" compatLnSpc="1"/>
          <a:lstStyle>
            <a:lvl1pPr algn="l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41" y="0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t" anchorCtr="0" compatLnSpc="1"/>
          <a:lstStyle>
            <a:lvl1pPr algn="r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b" anchorCtr="0" compatLnSpc="1"/>
          <a:lstStyle>
            <a:lvl1pPr algn="l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41" y="9430385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b" anchorCtr="0" compatLnSpc="1"/>
          <a:lstStyle>
            <a:lvl1pPr algn="r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990D7D2E-B26F-44E5-876C-3A7A384F6106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030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t" anchorCtr="0" compatLnSpc="1"/>
          <a:lstStyle>
            <a:lvl1pPr algn="l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55" y="0"/>
            <a:ext cx="2946135" cy="4962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t" anchorCtr="0" compatLnSpc="1"/>
          <a:lstStyle>
            <a:lvl1pPr algn="r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658" y="4712022"/>
            <a:ext cx="5440360" cy="446944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t" anchorCtr="0" compatLnSpc="1"/>
          <a:lstStyle/>
          <a:p>
            <a:pPr lvl="0"/>
            <a:r>
              <a:rPr lang="en-US" altLang="zh-CN"/>
              <a:t>Textmasterformate durch Klicken bearbeiten</a:t>
            </a:r>
          </a:p>
          <a:p>
            <a:pPr lvl="1"/>
            <a:r>
              <a:rPr lang="en-US" altLang="zh-CN"/>
              <a:t>Zweite Ebene</a:t>
            </a:r>
          </a:p>
          <a:p>
            <a:pPr lvl="2"/>
            <a:r>
              <a:rPr lang="en-US" altLang="zh-CN"/>
              <a:t>Dritte Ebene</a:t>
            </a:r>
          </a:p>
          <a:p>
            <a:pPr lvl="3"/>
            <a:r>
              <a:rPr lang="en-US" altLang="zh-CN"/>
              <a:t>Vierte Ebene</a:t>
            </a:r>
          </a:p>
          <a:p>
            <a:pPr lvl="4"/>
            <a:r>
              <a:rPr lang="en-US" altLang="zh-CN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b" anchorCtr="0" compatLnSpc="1"/>
          <a:lstStyle>
            <a:lvl1pPr algn="l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endParaRPr lang="en-US" altLang="zh-CN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55" y="9428800"/>
            <a:ext cx="2946135" cy="49625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708" tIns="45854" rIns="91708" bIns="45854" numCol="1" anchor="b" anchorCtr="0" compatLnSpc="1"/>
          <a:lstStyle>
            <a:lvl1pPr algn="r" defTabSz="916305">
              <a:lnSpc>
                <a:spcPct val="100000"/>
              </a:lnSpc>
              <a:spcBef>
                <a:spcPct val="0"/>
              </a:spcBef>
              <a:buFontTx/>
              <a:buNone/>
              <a:defRPr sz="1200"/>
            </a:lvl1pPr>
          </a:lstStyle>
          <a:p>
            <a:fld id="{653C9414-4406-43AC-B12D-61798337EA30}" type="slidenum">
              <a:rPr lang="en-US" altLang="zh-CN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97432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 54"/>
          <p:cNvSpPr>
            <a:spLocks noChangeArrowheads="1"/>
          </p:cNvSpPr>
          <p:nvPr/>
        </p:nvSpPr>
        <p:spPr bwMode="auto">
          <a:xfrm>
            <a:off x="0" y="595314"/>
            <a:ext cx="9144000" cy="3767137"/>
          </a:xfrm>
          <a:custGeom>
            <a:avLst/>
            <a:gdLst>
              <a:gd name="T0" fmla="*/ 0 w 12191999"/>
              <a:gd name="T1" fmla="*/ 0 h 3767388"/>
              <a:gd name="T2" fmla="*/ 1801281 w 12191999"/>
              <a:gd name="T3" fmla="*/ 0 h 3767388"/>
              <a:gd name="T4" fmla="*/ 1431236 w 12191999"/>
              <a:gd name="T5" fmla="*/ 638878 h 3767388"/>
              <a:gd name="T6" fmla="*/ 2905722 w 12191999"/>
              <a:gd name="T7" fmla="*/ 638878 h 3767388"/>
              <a:gd name="T8" fmla="*/ 3275767 w 12191999"/>
              <a:gd name="T9" fmla="*/ 0 h 3767388"/>
              <a:gd name="T10" fmla="*/ 3969467 w 12191999"/>
              <a:gd name="T11" fmla="*/ 0 h 3767388"/>
              <a:gd name="T12" fmla="*/ 3968353 w 12191999"/>
              <a:gd name="T13" fmla="*/ 2680 h 3767388"/>
              <a:gd name="T14" fmla="*/ 3967876 w 12191999"/>
              <a:gd name="T15" fmla="*/ 2680 h 3767388"/>
              <a:gd name="T16" fmla="*/ 3597832 w 12191999"/>
              <a:gd name="T17" fmla="*/ 641558 h 3767388"/>
              <a:gd name="T18" fmla="*/ 5072316 w 12191999"/>
              <a:gd name="T19" fmla="*/ 641558 h 3767388"/>
              <a:gd name="T20" fmla="*/ 5073521 w 12191999"/>
              <a:gd name="T21" fmla="*/ 639479 h 3767388"/>
              <a:gd name="T22" fmla="*/ 5822782 w 12191999"/>
              <a:gd name="T23" fmla="*/ 639479 h 3767388"/>
              <a:gd name="T24" fmla="*/ 5452737 w 12191999"/>
              <a:gd name="T25" fmla="*/ 599 h 3767388"/>
              <a:gd name="T26" fmla="*/ 5439486 w 12191999"/>
              <a:gd name="T27" fmla="*/ 599 h 3767388"/>
              <a:gd name="T28" fmla="*/ 5439237 w 12191999"/>
              <a:gd name="T29" fmla="*/ 0 h 3767388"/>
              <a:gd name="T30" fmla="*/ 9033832 w 12191999"/>
              <a:gd name="T31" fmla="*/ 0 h 3767388"/>
              <a:gd name="T32" fmla="*/ 9034308 w 12191999"/>
              <a:gd name="T33" fmla="*/ 1067 h 3767388"/>
              <a:gd name="T34" fmla="*/ 9018031 w 12191999"/>
              <a:gd name="T35" fmla="*/ 1067 h 3767388"/>
              <a:gd name="T36" fmla="*/ 9420612 w 12191999"/>
              <a:gd name="T37" fmla="*/ 695171 h 3767388"/>
              <a:gd name="T38" fmla="*/ 9823192 w 12191999"/>
              <a:gd name="T39" fmla="*/ 1067 h 3767388"/>
              <a:gd name="T40" fmla="*/ 9802096 w 12191999"/>
              <a:gd name="T41" fmla="*/ 1067 h 3767388"/>
              <a:gd name="T42" fmla="*/ 9802572 w 12191999"/>
              <a:gd name="T43" fmla="*/ 0 h 3767388"/>
              <a:gd name="T44" fmla="*/ 12191999 w 12191999"/>
              <a:gd name="T45" fmla="*/ 0 h 3767388"/>
              <a:gd name="T46" fmla="*/ 12191999 w 12191999"/>
              <a:gd name="T47" fmla="*/ 3127156 h 3767388"/>
              <a:gd name="T48" fmla="*/ 8682646 w 12191999"/>
              <a:gd name="T49" fmla="*/ 3127156 h 3767388"/>
              <a:gd name="T50" fmla="*/ 8317116 w 12191999"/>
              <a:gd name="T51" fmla="*/ 2496845 h 3767388"/>
              <a:gd name="T52" fmla="*/ 7578808 w 12191999"/>
              <a:gd name="T53" fmla="*/ 2497238 h 3767388"/>
              <a:gd name="T54" fmla="*/ 7944110 w 12191999"/>
              <a:gd name="T55" fmla="*/ 3127156 h 3767388"/>
              <a:gd name="T56" fmla="*/ 6523523 w 12191999"/>
              <a:gd name="T57" fmla="*/ 3127156 h 3767388"/>
              <a:gd name="T58" fmla="*/ 6893568 w 12191999"/>
              <a:gd name="T59" fmla="*/ 3766035 h 3767388"/>
              <a:gd name="T60" fmla="*/ 6906039 w 12191999"/>
              <a:gd name="T61" fmla="*/ 3766035 h 3767388"/>
              <a:gd name="T62" fmla="*/ 6906039 w 12191999"/>
              <a:gd name="T63" fmla="*/ 3767388 h 3767388"/>
              <a:gd name="T64" fmla="*/ 6171171 w 12191999"/>
              <a:gd name="T65" fmla="*/ 3767388 h 3767388"/>
              <a:gd name="T66" fmla="*/ 5805034 w 12191999"/>
              <a:gd name="T67" fmla="*/ 3136032 h 3767388"/>
              <a:gd name="T68" fmla="*/ 5813781 w 12191999"/>
              <a:gd name="T69" fmla="*/ 3120932 h 3767388"/>
              <a:gd name="T70" fmla="*/ 5796279 w 12191999"/>
              <a:gd name="T71" fmla="*/ 3120932 h 3767388"/>
              <a:gd name="T72" fmla="*/ 5435842 w 12191999"/>
              <a:gd name="T73" fmla="*/ 2499405 h 3767388"/>
              <a:gd name="T74" fmla="*/ 4697534 w 12191999"/>
              <a:gd name="T75" fmla="*/ 2499798 h 3767388"/>
              <a:gd name="T76" fmla="*/ 5057742 w 12191999"/>
              <a:gd name="T77" fmla="*/ 3120932 h 3767388"/>
              <a:gd name="T78" fmla="*/ 4339295 w 12191999"/>
              <a:gd name="T79" fmla="*/ 3120932 h 3767388"/>
              <a:gd name="T80" fmla="*/ 3977091 w 12191999"/>
              <a:gd name="T81" fmla="*/ 3746277 h 3767388"/>
              <a:gd name="T82" fmla="*/ 3963972 w 12191999"/>
              <a:gd name="T83" fmla="*/ 3746277 h 3767388"/>
              <a:gd name="T84" fmla="*/ 3963972 w 12191999"/>
              <a:gd name="T85" fmla="*/ 3767388 h 3767388"/>
              <a:gd name="T86" fmla="*/ 3314160 w 12191999"/>
              <a:gd name="T87" fmla="*/ 3767388 h 3767388"/>
              <a:gd name="T88" fmla="*/ 2911580 w 12191999"/>
              <a:gd name="T89" fmla="*/ 3073284 h 3767388"/>
              <a:gd name="T90" fmla="*/ 2508998 w 12191999"/>
              <a:gd name="T91" fmla="*/ 3767388 h 3767388"/>
              <a:gd name="T92" fmla="*/ 0 w 12191999"/>
              <a:gd name="T93" fmla="*/ 3767388 h 376738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2191999"/>
              <a:gd name="T142" fmla="*/ 0 h 3767388"/>
              <a:gd name="T143" fmla="*/ 12191999 w 12191999"/>
              <a:gd name="T144" fmla="*/ 3767388 h 376738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2191999" h="3767388">
                <a:moveTo>
                  <a:pt x="0" y="0"/>
                </a:moveTo>
                <a:lnTo>
                  <a:pt x="1801281" y="0"/>
                </a:lnTo>
                <a:lnTo>
                  <a:pt x="1431236" y="638878"/>
                </a:lnTo>
                <a:lnTo>
                  <a:pt x="2905722" y="638878"/>
                </a:lnTo>
                <a:lnTo>
                  <a:pt x="3275767" y="0"/>
                </a:lnTo>
                <a:lnTo>
                  <a:pt x="3969467" y="0"/>
                </a:lnTo>
                <a:lnTo>
                  <a:pt x="3968353" y="2680"/>
                </a:lnTo>
                <a:lnTo>
                  <a:pt x="3967876" y="2680"/>
                </a:lnTo>
                <a:lnTo>
                  <a:pt x="3597832" y="641558"/>
                </a:lnTo>
                <a:lnTo>
                  <a:pt x="5072316" y="641558"/>
                </a:lnTo>
                <a:lnTo>
                  <a:pt x="5073521" y="639479"/>
                </a:lnTo>
                <a:lnTo>
                  <a:pt x="5822782" y="639479"/>
                </a:lnTo>
                <a:lnTo>
                  <a:pt x="5452737" y="599"/>
                </a:lnTo>
                <a:lnTo>
                  <a:pt x="5439486" y="599"/>
                </a:lnTo>
                <a:lnTo>
                  <a:pt x="5439237" y="0"/>
                </a:lnTo>
                <a:lnTo>
                  <a:pt x="9033832" y="0"/>
                </a:lnTo>
                <a:lnTo>
                  <a:pt x="9034308" y="1067"/>
                </a:lnTo>
                <a:lnTo>
                  <a:pt x="9018031" y="1067"/>
                </a:lnTo>
                <a:lnTo>
                  <a:pt x="9420612" y="695171"/>
                </a:lnTo>
                <a:lnTo>
                  <a:pt x="9823192" y="1067"/>
                </a:lnTo>
                <a:lnTo>
                  <a:pt x="9802096" y="1067"/>
                </a:lnTo>
                <a:lnTo>
                  <a:pt x="9802572" y="0"/>
                </a:lnTo>
                <a:lnTo>
                  <a:pt x="12191999" y="0"/>
                </a:lnTo>
                <a:lnTo>
                  <a:pt x="12191999" y="3127156"/>
                </a:lnTo>
                <a:lnTo>
                  <a:pt x="8682646" y="3127156"/>
                </a:lnTo>
                <a:lnTo>
                  <a:pt x="8317116" y="2496845"/>
                </a:lnTo>
                <a:lnTo>
                  <a:pt x="7578808" y="2497238"/>
                </a:lnTo>
                <a:lnTo>
                  <a:pt x="7944110" y="3127156"/>
                </a:lnTo>
                <a:lnTo>
                  <a:pt x="6523523" y="3127156"/>
                </a:lnTo>
                <a:lnTo>
                  <a:pt x="6893568" y="3766035"/>
                </a:lnTo>
                <a:lnTo>
                  <a:pt x="6906039" y="3766035"/>
                </a:lnTo>
                <a:lnTo>
                  <a:pt x="6906039" y="3767388"/>
                </a:lnTo>
                <a:lnTo>
                  <a:pt x="6171171" y="3767388"/>
                </a:lnTo>
                <a:lnTo>
                  <a:pt x="5805034" y="3136032"/>
                </a:lnTo>
                <a:lnTo>
                  <a:pt x="5813781" y="3120932"/>
                </a:lnTo>
                <a:lnTo>
                  <a:pt x="5796279" y="3120932"/>
                </a:lnTo>
                <a:lnTo>
                  <a:pt x="5435842" y="2499405"/>
                </a:lnTo>
                <a:lnTo>
                  <a:pt x="4697534" y="2499798"/>
                </a:lnTo>
                <a:lnTo>
                  <a:pt x="5057742" y="3120932"/>
                </a:lnTo>
                <a:lnTo>
                  <a:pt x="4339295" y="3120932"/>
                </a:lnTo>
                <a:lnTo>
                  <a:pt x="3977091" y="3746277"/>
                </a:lnTo>
                <a:lnTo>
                  <a:pt x="3963972" y="3746277"/>
                </a:lnTo>
                <a:lnTo>
                  <a:pt x="3963972" y="3767388"/>
                </a:lnTo>
                <a:lnTo>
                  <a:pt x="3314160" y="3767388"/>
                </a:lnTo>
                <a:lnTo>
                  <a:pt x="2911580" y="3073284"/>
                </a:lnTo>
                <a:lnTo>
                  <a:pt x="2508998" y="3767388"/>
                </a:lnTo>
                <a:lnTo>
                  <a:pt x="0" y="3767388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8" name="任意多边形 3"/>
          <p:cNvSpPr>
            <a:spLocks noChangeArrowheads="1"/>
          </p:cNvSpPr>
          <p:nvPr/>
        </p:nvSpPr>
        <p:spPr bwMode="auto">
          <a:xfrm>
            <a:off x="0" y="2493963"/>
            <a:ext cx="9144000" cy="2309812"/>
          </a:xfrm>
          <a:custGeom>
            <a:avLst/>
            <a:gdLst>
              <a:gd name="T0" fmla="*/ 0 w 12191998"/>
              <a:gd name="T1" fmla="*/ 0 h 2310428"/>
              <a:gd name="T2" fmla="*/ 12191998 w 12191998"/>
              <a:gd name="T3" fmla="*/ 2310428 h 2310428"/>
            </a:gdLst>
            <a:ahLst/>
            <a:cxnLst/>
            <a:rect l="T0" t="T1" r="T2" b="T3"/>
            <a:pathLst>
              <a:path w="12191998" h="2310428">
                <a:moveTo>
                  <a:pt x="1310627" y="1710976"/>
                </a:moveTo>
                <a:lnTo>
                  <a:pt x="1658309" y="2310428"/>
                </a:lnTo>
                <a:lnTo>
                  <a:pt x="962945" y="2310428"/>
                </a:lnTo>
                <a:close/>
                <a:moveTo>
                  <a:pt x="3846550" y="1087363"/>
                </a:moveTo>
                <a:lnTo>
                  <a:pt x="3487641" y="1706185"/>
                </a:lnTo>
                <a:lnTo>
                  <a:pt x="3487642" y="1706186"/>
                </a:lnTo>
                <a:close/>
                <a:moveTo>
                  <a:pt x="2399459" y="1087363"/>
                </a:moveTo>
                <a:lnTo>
                  <a:pt x="2040619" y="1706053"/>
                </a:lnTo>
                <a:lnTo>
                  <a:pt x="2040619" y="1706054"/>
                </a:lnTo>
                <a:lnTo>
                  <a:pt x="2399460" y="1087363"/>
                </a:lnTo>
                <a:close/>
                <a:moveTo>
                  <a:pt x="1676068" y="1087363"/>
                </a:moveTo>
                <a:lnTo>
                  <a:pt x="1314370" y="1710976"/>
                </a:lnTo>
                <a:lnTo>
                  <a:pt x="1676069" y="1087363"/>
                </a:lnTo>
                <a:close/>
                <a:moveTo>
                  <a:pt x="952673" y="1087363"/>
                </a:moveTo>
                <a:lnTo>
                  <a:pt x="593157" y="1707218"/>
                </a:lnTo>
                <a:lnTo>
                  <a:pt x="593158" y="1707219"/>
                </a:lnTo>
                <a:close/>
                <a:moveTo>
                  <a:pt x="11441770" y="463882"/>
                </a:moveTo>
                <a:lnTo>
                  <a:pt x="11441769" y="463883"/>
                </a:lnTo>
                <a:lnTo>
                  <a:pt x="11574136" y="692102"/>
                </a:lnTo>
                <a:lnTo>
                  <a:pt x="11574137" y="692102"/>
                </a:lnTo>
                <a:close/>
                <a:moveTo>
                  <a:pt x="2037450" y="463749"/>
                </a:moveTo>
                <a:lnTo>
                  <a:pt x="1675756" y="1087362"/>
                </a:lnTo>
                <a:lnTo>
                  <a:pt x="2037451" y="463750"/>
                </a:lnTo>
                <a:close/>
                <a:moveTo>
                  <a:pt x="1314057" y="463749"/>
                </a:moveTo>
                <a:lnTo>
                  <a:pt x="952362" y="1087362"/>
                </a:lnTo>
                <a:lnTo>
                  <a:pt x="1314057" y="463750"/>
                </a:lnTo>
                <a:close/>
                <a:moveTo>
                  <a:pt x="590665" y="463749"/>
                </a:moveTo>
                <a:lnTo>
                  <a:pt x="228971" y="1087362"/>
                </a:lnTo>
                <a:lnTo>
                  <a:pt x="590665" y="463750"/>
                </a:lnTo>
                <a:close/>
                <a:moveTo>
                  <a:pt x="3030453" y="0"/>
                </a:moveTo>
                <a:lnTo>
                  <a:pt x="3753832" y="0"/>
                </a:lnTo>
                <a:lnTo>
                  <a:pt x="3484869" y="463747"/>
                </a:lnTo>
                <a:lnTo>
                  <a:pt x="3484870" y="463748"/>
                </a:lnTo>
                <a:lnTo>
                  <a:pt x="3484867" y="463748"/>
                </a:lnTo>
                <a:lnTo>
                  <a:pt x="2761478" y="463748"/>
                </a:lnTo>
                <a:close/>
                <a:moveTo>
                  <a:pt x="0" y="0"/>
                </a:moveTo>
                <a:lnTo>
                  <a:pt x="135936" y="0"/>
                </a:lnTo>
                <a:lnTo>
                  <a:pt x="859328" y="0"/>
                </a:lnTo>
                <a:lnTo>
                  <a:pt x="590353" y="463749"/>
                </a:lnTo>
                <a:lnTo>
                  <a:pt x="590354" y="463749"/>
                </a:lnTo>
                <a:lnTo>
                  <a:pt x="859328" y="0"/>
                </a:lnTo>
                <a:lnTo>
                  <a:pt x="1582721" y="0"/>
                </a:lnTo>
                <a:lnTo>
                  <a:pt x="1313744" y="463749"/>
                </a:lnTo>
                <a:lnTo>
                  <a:pt x="1313745" y="463749"/>
                </a:lnTo>
                <a:lnTo>
                  <a:pt x="1582722" y="0"/>
                </a:lnTo>
                <a:lnTo>
                  <a:pt x="2306112" y="0"/>
                </a:lnTo>
                <a:lnTo>
                  <a:pt x="2037139" y="463748"/>
                </a:lnTo>
                <a:lnTo>
                  <a:pt x="2037139" y="463749"/>
                </a:lnTo>
                <a:lnTo>
                  <a:pt x="2306114" y="0"/>
                </a:lnTo>
                <a:lnTo>
                  <a:pt x="3029504" y="0"/>
                </a:lnTo>
                <a:lnTo>
                  <a:pt x="2760529" y="463748"/>
                </a:lnTo>
                <a:lnTo>
                  <a:pt x="2760530" y="463749"/>
                </a:lnTo>
                <a:lnTo>
                  <a:pt x="2760842" y="463749"/>
                </a:lnTo>
                <a:lnTo>
                  <a:pt x="2399147" y="1087362"/>
                </a:lnTo>
                <a:lnTo>
                  <a:pt x="2399148" y="1087362"/>
                </a:lnTo>
                <a:lnTo>
                  <a:pt x="2760843" y="463750"/>
                </a:lnTo>
                <a:lnTo>
                  <a:pt x="2760842" y="463749"/>
                </a:lnTo>
                <a:lnTo>
                  <a:pt x="2760843" y="463749"/>
                </a:lnTo>
                <a:lnTo>
                  <a:pt x="3484234" y="463749"/>
                </a:lnTo>
                <a:lnTo>
                  <a:pt x="3122540" y="1087362"/>
                </a:lnTo>
                <a:lnTo>
                  <a:pt x="3122851" y="1087362"/>
                </a:lnTo>
                <a:lnTo>
                  <a:pt x="2761155" y="1710976"/>
                </a:lnTo>
                <a:lnTo>
                  <a:pt x="2761156" y="1710976"/>
                </a:lnTo>
                <a:lnTo>
                  <a:pt x="2761473" y="1710976"/>
                </a:lnTo>
                <a:lnTo>
                  <a:pt x="3123167" y="1087364"/>
                </a:lnTo>
                <a:lnTo>
                  <a:pt x="3123165" y="1087363"/>
                </a:lnTo>
                <a:lnTo>
                  <a:pt x="3123167" y="1087363"/>
                </a:lnTo>
                <a:lnTo>
                  <a:pt x="3123180" y="1087363"/>
                </a:lnTo>
                <a:lnTo>
                  <a:pt x="3484877" y="463750"/>
                </a:lnTo>
                <a:lnTo>
                  <a:pt x="3484877" y="463749"/>
                </a:lnTo>
                <a:lnTo>
                  <a:pt x="4208242" y="463749"/>
                </a:lnTo>
                <a:lnTo>
                  <a:pt x="4921529" y="463749"/>
                </a:lnTo>
                <a:lnTo>
                  <a:pt x="4921529" y="463748"/>
                </a:lnTo>
                <a:lnTo>
                  <a:pt x="4208242" y="463748"/>
                </a:lnTo>
                <a:lnTo>
                  <a:pt x="3484870" y="463748"/>
                </a:lnTo>
                <a:lnTo>
                  <a:pt x="3753832" y="0"/>
                </a:lnTo>
                <a:lnTo>
                  <a:pt x="5384960" y="0"/>
                </a:lnTo>
                <a:lnTo>
                  <a:pt x="5653933" y="463749"/>
                </a:lnTo>
                <a:lnTo>
                  <a:pt x="5655025" y="463749"/>
                </a:lnTo>
                <a:lnTo>
                  <a:pt x="6378414" y="463749"/>
                </a:lnTo>
                <a:lnTo>
                  <a:pt x="7101806" y="463749"/>
                </a:lnTo>
                <a:lnTo>
                  <a:pt x="7825198" y="463749"/>
                </a:lnTo>
                <a:lnTo>
                  <a:pt x="8548590" y="463749"/>
                </a:lnTo>
                <a:lnTo>
                  <a:pt x="9271982" y="463749"/>
                </a:lnTo>
                <a:lnTo>
                  <a:pt x="9995374" y="463749"/>
                </a:lnTo>
                <a:lnTo>
                  <a:pt x="10718455" y="463749"/>
                </a:lnTo>
                <a:lnTo>
                  <a:pt x="10718766" y="463749"/>
                </a:lnTo>
                <a:lnTo>
                  <a:pt x="11441380" y="463749"/>
                </a:lnTo>
                <a:lnTo>
                  <a:pt x="11441381" y="463748"/>
                </a:lnTo>
                <a:lnTo>
                  <a:pt x="10718766" y="463748"/>
                </a:lnTo>
                <a:lnTo>
                  <a:pt x="9995374" y="463748"/>
                </a:lnTo>
                <a:lnTo>
                  <a:pt x="9271982" y="463748"/>
                </a:lnTo>
                <a:lnTo>
                  <a:pt x="8548590" y="463748"/>
                </a:lnTo>
                <a:lnTo>
                  <a:pt x="7825198" y="463748"/>
                </a:lnTo>
                <a:lnTo>
                  <a:pt x="7101806" y="463748"/>
                </a:lnTo>
                <a:lnTo>
                  <a:pt x="6378414" y="463748"/>
                </a:lnTo>
                <a:lnTo>
                  <a:pt x="5655025" y="463748"/>
                </a:lnTo>
                <a:lnTo>
                  <a:pt x="5386052" y="0"/>
                </a:lnTo>
                <a:lnTo>
                  <a:pt x="12070553" y="0"/>
                </a:lnTo>
                <a:lnTo>
                  <a:pt x="12070553" y="626733"/>
                </a:lnTo>
                <a:lnTo>
                  <a:pt x="12032639" y="692102"/>
                </a:lnTo>
                <a:lnTo>
                  <a:pt x="12070553" y="626734"/>
                </a:lnTo>
                <a:lnTo>
                  <a:pt x="12070553" y="692102"/>
                </a:lnTo>
                <a:lnTo>
                  <a:pt x="12191998" y="692102"/>
                </a:lnTo>
                <a:lnTo>
                  <a:pt x="12191998" y="1702021"/>
                </a:lnTo>
                <a:lnTo>
                  <a:pt x="12070553" y="1702021"/>
                </a:lnTo>
                <a:lnTo>
                  <a:pt x="12070553" y="1710976"/>
                </a:lnTo>
                <a:lnTo>
                  <a:pt x="11442666" y="1710976"/>
                </a:lnTo>
                <a:lnTo>
                  <a:pt x="11566261" y="1497881"/>
                </a:lnTo>
                <a:lnTo>
                  <a:pt x="11566261" y="1497006"/>
                </a:lnTo>
                <a:lnTo>
                  <a:pt x="11442158" y="1710977"/>
                </a:lnTo>
                <a:lnTo>
                  <a:pt x="10718766" y="1710977"/>
                </a:lnTo>
                <a:lnTo>
                  <a:pt x="11080462" y="1087363"/>
                </a:lnTo>
                <a:lnTo>
                  <a:pt x="11566261" y="1087363"/>
                </a:lnTo>
                <a:lnTo>
                  <a:pt x="11566261" y="1087362"/>
                </a:lnTo>
                <a:lnTo>
                  <a:pt x="11080152" y="1087362"/>
                </a:lnTo>
                <a:lnTo>
                  <a:pt x="11080151" y="1087363"/>
                </a:lnTo>
                <a:lnTo>
                  <a:pt x="11080306" y="1087363"/>
                </a:lnTo>
                <a:lnTo>
                  <a:pt x="10718610" y="1710977"/>
                </a:lnTo>
                <a:lnTo>
                  <a:pt x="9995374" y="1710977"/>
                </a:lnTo>
                <a:lnTo>
                  <a:pt x="9995218" y="1710977"/>
                </a:lnTo>
                <a:lnTo>
                  <a:pt x="9271982" y="1710977"/>
                </a:lnTo>
                <a:lnTo>
                  <a:pt x="8548590" y="1710977"/>
                </a:lnTo>
                <a:lnTo>
                  <a:pt x="8186894" y="1087363"/>
                </a:lnTo>
                <a:lnTo>
                  <a:pt x="7463502" y="1087363"/>
                </a:lnTo>
                <a:lnTo>
                  <a:pt x="7451072" y="1087363"/>
                </a:lnTo>
                <a:lnTo>
                  <a:pt x="7450269" y="1088748"/>
                </a:lnTo>
                <a:lnTo>
                  <a:pt x="7811161" y="1710976"/>
                </a:lnTo>
                <a:lnTo>
                  <a:pt x="7101806" y="1710976"/>
                </a:lnTo>
                <a:lnTo>
                  <a:pt x="7101806" y="1710977"/>
                </a:lnTo>
                <a:lnTo>
                  <a:pt x="6385853" y="1710977"/>
                </a:lnTo>
                <a:lnTo>
                  <a:pt x="6733534" y="2310428"/>
                </a:lnTo>
                <a:lnTo>
                  <a:pt x="6002195" y="2310428"/>
                </a:lnTo>
                <a:lnTo>
                  <a:pt x="5654518" y="1710977"/>
                </a:lnTo>
                <a:lnTo>
                  <a:pt x="5655025" y="1710977"/>
                </a:lnTo>
                <a:lnTo>
                  <a:pt x="5293331" y="1087363"/>
                </a:lnTo>
                <a:lnTo>
                  <a:pt x="5284310" y="1071815"/>
                </a:lnTo>
                <a:lnTo>
                  <a:pt x="4578956" y="1071815"/>
                </a:lnTo>
                <a:lnTo>
                  <a:pt x="4569937" y="1087363"/>
                </a:lnTo>
                <a:lnTo>
                  <a:pt x="4931636" y="1710977"/>
                </a:lnTo>
                <a:lnTo>
                  <a:pt x="4208242" y="1710977"/>
                </a:lnTo>
                <a:lnTo>
                  <a:pt x="4207151" y="1710977"/>
                </a:lnTo>
                <a:lnTo>
                  <a:pt x="3859468" y="2310428"/>
                </a:lnTo>
                <a:lnTo>
                  <a:pt x="3107429" y="2310428"/>
                </a:lnTo>
                <a:lnTo>
                  <a:pt x="2759746" y="1710976"/>
                </a:lnTo>
                <a:lnTo>
                  <a:pt x="2759279" y="1710976"/>
                </a:lnTo>
                <a:lnTo>
                  <a:pt x="2411597" y="2310428"/>
                </a:lnTo>
                <a:lnTo>
                  <a:pt x="1659555" y="2310428"/>
                </a:lnTo>
                <a:lnTo>
                  <a:pt x="1311872" y="1710976"/>
                </a:lnTo>
                <a:lnTo>
                  <a:pt x="1310627" y="1710976"/>
                </a:lnTo>
                <a:lnTo>
                  <a:pt x="1310017" y="1710976"/>
                </a:lnTo>
                <a:lnTo>
                  <a:pt x="962334" y="2310428"/>
                </a:lnTo>
                <a:lnTo>
                  <a:pt x="0" y="2310428"/>
                </a:lnTo>
                <a:close/>
              </a:path>
            </a:pathLst>
          </a:custGeom>
          <a:gradFill rotWithShape="1">
            <a:gsLst>
              <a:gs pos="0">
                <a:srgbClr val="284482"/>
              </a:gs>
              <a:gs pos="29999">
                <a:srgbClr val="834F9B"/>
              </a:gs>
              <a:gs pos="64999">
                <a:srgbClr val="A4377B"/>
              </a:gs>
              <a:gs pos="92000">
                <a:srgbClr val="FD9A55"/>
              </a:gs>
              <a:gs pos="100000">
                <a:srgbClr val="FD9A55"/>
              </a:gs>
            </a:gsLst>
            <a:lin ang="19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grpSp>
        <p:nvGrpSpPr>
          <p:cNvPr id="9" name="组合 4"/>
          <p:cNvGrpSpPr/>
          <p:nvPr/>
        </p:nvGrpSpPr>
        <p:grpSpPr bwMode="auto">
          <a:xfrm>
            <a:off x="-10716" y="571500"/>
            <a:ext cx="9165432" cy="3771900"/>
            <a:chOff x="0" y="0"/>
            <a:chExt cx="12221217" cy="3771775"/>
          </a:xfrm>
        </p:grpSpPr>
        <p:sp>
          <p:nvSpPr>
            <p:cNvPr id="10" name="直接连接符 5"/>
            <p:cNvSpPr>
              <a:spLocks noChangeShapeType="1"/>
            </p:cNvSpPr>
            <p:nvPr/>
          </p:nvSpPr>
          <p:spPr bwMode="auto">
            <a:xfrm flipH="1">
              <a:off x="14714" y="21634"/>
              <a:ext cx="346982" cy="62361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1" name="直接连接符 6"/>
            <p:cNvSpPr>
              <a:spLocks noChangeShapeType="1"/>
            </p:cNvSpPr>
            <p:nvPr/>
          </p:nvSpPr>
          <p:spPr bwMode="auto">
            <a:xfrm flipH="1">
              <a:off x="11680" y="35337"/>
              <a:ext cx="1043980" cy="184236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2" name="直接连接符 7"/>
            <p:cNvSpPr>
              <a:spLocks noChangeShapeType="1"/>
            </p:cNvSpPr>
            <p:nvPr/>
          </p:nvSpPr>
          <p:spPr bwMode="auto">
            <a:xfrm flipH="1">
              <a:off x="0" y="617551"/>
              <a:ext cx="1457700" cy="252215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3" name="直接连接符 8"/>
            <p:cNvSpPr>
              <a:spLocks noChangeShapeType="1"/>
            </p:cNvSpPr>
            <p:nvPr/>
          </p:nvSpPr>
          <p:spPr bwMode="auto">
            <a:xfrm flipH="1">
              <a:off x="361696" y="666875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4" name="直接连接符 9"/>
            <p:cNvSpPr>
              <a:spLocks noChangeShapeType="1"/>
            </p:cNvSpPr>
            <p:nvPr/>
          </p:nvSpPr>
          <p:spPr bwMode="auto">
            <a:xfrm flipH="1">
              <a:off x="1083668" y="66029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5" name="直接连接符 10"/>
            <p:cNvSpPr>
              <a:spLocks noChangeShapeType="1"/>
            </p:cNvSpPr>
            <p:nvPr/>
          </p:nvSpPr>
          <p:spPr bwMode="auto">
            <a:xfrm flipH="1">
              <a:off x="1818760" y="640514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6" name="直接连接符 11"/>
            <p:cNvSpPr>
              <a:spLocks noChangeShapeType="1"/>
            </p:cNvSpPr>
            <p:nvPr/>
          </p:nvSpPr>
          <p:spPr bwMode="auto">
            <a:xfrm flipH="1">
              <a:off x="2526557" y="66029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7" name="直接连接符 12"/>
            <p:cNvSpPr>
              <a:spLocks noChangeShapeType="1"/>
            </p:cNvSpPr>
            <p:nvPr/>
          </p:nvSpPr>
          <p:spPr bwMode="auto">
            <a:xfrm flipH="1">
              <a:off x="3248821" y="653705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8" name="直接连接符 13"/>
            <p:cNvSpPr>
              <a:spLocks noChangeShapeType="1"/>
            </p:cNvSpPr>
            <p:nvPr/>
          </p:nvSpPr>
          <p:spPr bwMode="auto">
            <a:xfrm flipH="1">
              <a:off x="3970924" y="21634"/>
              <a:ext cx="2181953" cy="375014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9" name="直接连接符 14"/>
            <p:cNvSpPr>
              <a:spLocks noChangeShapeType="1"/>
            </p:cNvSpPr>
            <p:nvPr/>
          </p:nvSpPr>
          <p:spPr bwMode="auto">
            <a:xfrm flipH="1">
              <a:off x="5793485" y="21631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0" name="直接连接符 15"/>
            <p:cNvSpPr>
              <a:spLocks noChangeShapeType="1"/>
            </p:cNvSpPr>
            <p:nvPr/>
          </p:nvSpPr>
          <p:spPr bwMode="auto">
            <a:xfrm flipH="1">
              <a:off x="5415416" y="21634"/>
              <a:ext cx="1460853" cy="247863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1" name="直接连接符 16"/>
            <p:cNvSpPr>
              <a:spLocks noChangeShapeType="1"/>
            </p:cNvSpPr>
            <p:nvPr/>
          </p:nvSpPr>
          <p:spPr bwMode="auto">
            <a:xfrm flipH="1">
              <a:off x="7596051" y="21631"/>
              <a:ext cx="1460853" cy="247863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2" name="直接连接符 17"/>
            <p:cNvSpPr>
              <a:spLocks noChangeShapeType="1"/>
            </p:cNvSpPr>
            <p:nvPr/>
          </p:nvSpPr>
          <p:spPr bwMode="auto">
            <a:xfrm flipH="1">
              <a:off x="6152369" y="0"/>
              <a:ext cx="2182979" cy="376331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3" name="直接连接符 18"/>
            <p:cNvSpPr>
              <a:spLocks noChangeShapeType="1"/>
            </p:cNvSpPr>
            <p:nvPr/>
          </p:nvSpPr>
          <p:spPr bwMode="auto">
            <a:xfrm flipH="1">
              <a:off x="8329510" y="645248"/>
              <a:ext cx="1078631" cy="184656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4" name="直接连接符 19"/>
            <p:cNvSpPr>
              <a:spLocks noChangeShapeType="1"/>
            </p:cNvSpPr>
            <p:nvPr/>
          </p:nvSpPr>
          <p:spPr bwMode="auto">
            <a:xfrm flipH="1">
              <a:off x="8684749" y="16397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5" name="直接连接符 20"/>
            <p:cNvSpPr>
              <a:spLocks noChangeShapeType="1"/>
            </p:cNvSpPr>
            <p:nvPr/>
          </p:nvSpPr>
          <p:spPr bwMode="auto">
            <a:xfrm flipH="1">
              <a:off x="9386666" y="36534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6" name="直接连接符 21"/>
            <p:cNvSpPr>
              <a:spLocks noChangeShapeType="1"/>
            </p:cNvSpPr>
            <p:nvPr/>
          </p:nvSpPr>
          <p:spPr bwMode="auto">
            <a:xfrm flipH="1">
              <a:off x="10119267" y="42651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7" name="直接连接符 22"/>
            <p:cNvSpPr>
              <a:spLocks noChangeShapeType="1"/>
            </p:cNvSpPr>
            <p:nvPr/>
          </p:nvSpPr>
          <p:spPr bwMode="auto">
            <a:xfrm flipH="1">
              <a:off x="10854925" y="808229"/>
              <a:ext cx="1351789" cy="233147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8" name="直接连接符 23"/>
            <p:cNvSpPr>
              <a:spLocks noChangeShapeType="1"/>
            </p:cNvSpPr>
            <p:nvPr/>
          </p:nvSpPr>
          <p:spPr bwMode="auto">
            <a:xfrm flipH="1">
              <a:off x="11577226" y="2055458"/>
              <a:ext cx="629488" cy="109036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9" name="直接连接符 24"/>
            <p:cNvSpPr>
              <a:spLocks noChangeShapeType="1"/>
            </p:cNvSpPr>
            <p:nvPr/>
          </p:nvSpPr>
          <p:spPr bwMode="auto">
            <a:xfrm>
              <a:off x="8950" y="67346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0" name="直接连接符 25"/>
            <p:cNvSpPr>
              <a:spLocks noChangeShapeType="1"/>
            </p:cNvSpPr>
            <p:nvPr/>
          </p:nvSpPr>
          <p:spPr bwMode="auto">
            <a:xfrm>
              <a:off x="359997" y="16397"/>
              <a:ext cx="2173742" cy="374692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1" name="直接连接符 26"/>
            <p:cNvSpPr>
              <a:spLocks noChangeShapeType="1"/>
            </p:cNvSpPr>
            <p:nvPr/>
          </p:nvSpPr>
          <p:spPr bwMode="auto">
            <a:xfrm>
              <a:off x="15563" y="1884290"/>
              <a:ext cx="1069525" cy="187902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2" name="直接连接符 27"/>
            <p:cNvSpPr>
              <a:spLocks noChangeShapeType="1"/>
            </p:cNvSpPr>
            <p:nvPr/>
          </p:nvSpPr>
          <p:spPr bwMode="auto">
            <a:xfrm>
              <a:off x="8727" y="3152874"/>
              <a:ext cx="352969" cy="61044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3" name="直接连接符 28"/>
            <p:cNvSpPr>
              <a:spLocks noChangeShapeType="1"/>
            </p:cNvSpPr>
            <p:nvPr/>
          </p:nvSpPr>
          <p:spPr bwMode="auto">
            <a:xfrm>
              <a:off x="1083118" y="35337"/>
              <a:ext cx="2192022" cy="370162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4" name="直接连接符 29"/>
            <p:cNvSpPr>
              <a:spLocks noChangeShapeType="1"/>
            </p:cNvSpPr>
            <p:nvPr/>
          </p:nvSpPr>
          <p:spPr bwMode="auto">
            <a:xfrm>
              <a:off x="2176399" y="626804"/>
              <a:ext cx="1805213" cy="313651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5" name="直接连接符 30"/>
            <p:cNvSpPr>
              <a:spLocks noChangeShapeType="1"/>
            </p:cNvSpPr>
            <p:nvPr/>
          </p:nvSpPr>
          <p:spPr bwMode="auto">
            <a:xfrm>
              <a:off x="2885877" y="64712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6" name="直接连接符 31"/>
            <p:cNvSpPr>
              <a:spLocks noChangeShapeType="1"/>
            </p:cNvSpPr>
            <p:nvPr/>
          </p:nvSpPr>
          <p:spPr bwMode="auto">
            <a:xfrm>
              <a:off x="3250295" y="18573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7" name="直接连接符 32"/>
            <p:cNvSpPr>
              <a:spLocks noChangeShapeType="1"/>
            </p:cNvSpPr>
            <p:nvPr/>
          </p:nvSpPr>
          <p:spPr bwMode="auto">
            <a:xfrm>
              <a:off x="4330415" y="64958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8" name="直接连接符 33"/>
            <p:cNvSpPr>
              <a:spLocks noChangeShapeType="1"/>
            </p:cNvSpPr>
            <p:nvPr/>
          </p:nvSpPr>
          <p:spPr bwMode="auto">
            <a:xfrm>
              <a:off x="5064905" y="655139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9" name="直接连接符 34"/>
            <p:cNvSpPr>
              <a:spLocks noChangeShapeType="1"/>
            </p:cNvSpPr>
            <p:nvPr/>
          </p:nvSpPr>
          <p:spPr bwMode="auto">
            <a:xfrm>
              <a:off x="5787383" y="64958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0" name="直接连接符 35"/>
            <p:cNvSpPr>
              <a:spLocks noChangeShapeType="1"/>
            </p:cNvSpPr>
            <p:nvPr/>
          </p:nvSpPr>
          <p:spPr bwMode="auto">
            <a:xfrm>
              <a:off x="6165450" y="42651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1" name="直接连接符 36"/>
            <p:cNvSpPr>
              <a:spLocks noChangeShapeType="1"/>
            </p:cNvSpPr>
            <p:nvPr/>
          </p:nvSpPr>
          <p:spPr bwMode="auto">
            <a:xfrm>
              <a:off x="6875255" y="51087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2" name="直接连接符 37"/>
            <p:cNvSpPr>
              <a:spLocks noChangeShapeType="1"/>
            </p:cNvSpPr>
            <p:nvPr/>
          </p:nvSpPr>
          <p:spPr bwMode="auto">
            <a:xfrm>
              <a:off x="7610427" y="16396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3" name="直接连接符 38"/>
            <p:cNvSpPr>
              <a:spLocks noChangeShapeType="1"/>
            </p:cNvSpPr>
            <p:nvPr/>
          </p:nvSpPr>
          <p:spPr bwMode="auto">
            <a:xfrm>
              <a:off x="8306211" y="9633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4" name="直接连接符 39"/>
            <p:cNvSpPr>
              <a:spLocks noChangeShapeType="1"/>
            </p:cNvSpPr>
            <p:nvPr/>
          </p:nvSpPr>
          <p:spPr bwMode="auto">
            <a:xfrm>
              <a:off x="9782678" y="29523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5" name="直接连接符 40"/>
            <p:cNvSpPr>
              <a:spLocks noChangeShapeType="1"/>
            </p:cNvSpPr>
            <p:nvPr/>
          </p:nvSpPr>
          <p:spPr bwMode="auto">
            <a:xfrm>
              <a:off x="9418935" y="660026"/>
              <a:ext cx="1435990" cy="247967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6" name="直接连接符 41"/>
            <p:cNvSpPr>
              <a:spLocks noChangeShapeType="1"/>
            </p:cNvSpPr>
            <p:nvPr/>
          </p:nvSpPr>
          <p:spPr bwMode="auto">
            <a:xfrm>
              <a:off x="10514008" y="43422"/>
              <a:ext cx="1692705" cy="293162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7" name="直接连接符 42"/>
            <p:cNvSpPr>
              <a:spLocks noChangeShapeType="1"/>
            </p:cNvSpPr>
            <p:nvPr/>
          </p:nvSpPr>
          <p:spPr bwMode="auto">
            <a:xfrm>
              <a:off x="11221042" y="36411"/>
              <a:ext cx="985671" cy="169362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8" name="直接连接符 43"/>
            <p:cNvSpPr>
              <a:spLocks noChangeShapeType="1"/>
            </p:cNvSpPr>
            <p:nvPr/>
          </p:nvSpPr>
          <p:spPr bwMode="auto">
            <a:xfrm>
              <a:off x="11958130" y="30295"/>
              <a:ext cx="248583" cy="45250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9" name="直接连接符 44"/>
            <p:cNvSpPr>
              <a:spLocks noChangeShapeType="1"/>
            </p:cNvSpPr>
            <p:nvPr/>
          </p:nvSpPr>
          <p:spPr bwMode="auto">
            <a:xfrm flipV="1">
              <a:off x="2956" y="645247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0" name="直接连接符 45"/>
            <p:cNvSpPr>
              <a:spLocks noChangeShapeType="1"/>
            </p:cNvSpPr>
            <p:nvPr/>
          </p:nvSpPr>
          <p:spPr bwMode="auto">
            <a:xfrm flipV="1">
              <a:off x="11680" y="1261397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1" name="直接连接符 46"/>
            <p:cNvSpPr>
              <a:spLocks noChangeShapeType="1"/>
            </p:cNvSpPr>
            <p:nvPr/>
          </p:nvSpPr>
          <p:spPr bwMode="auto">
            <a:xfrm>
              <a:off x="63571" y="1891776"/>
              <a:ext cx="12143142" cy="70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2" name="直接连接符 47"/>
            <p:cNvSpPr>
              <a:spLocks noChangeShapeType="1"/>
            </p:cNvSpPr>
            <p:nvPr/>
          </p:nvSpPr>
          <p:spPr bwMode="auto">
            <a:xfrm flipV="1">
              <a:off x="17459" y="2507888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3" name="直接连接符 48"/>
            <p:cNvSpPr>
              <a:spLocks noChangeShapeType="1"/>
            </p:cNvSpPr>
            <p:nvPr/>
          </p:nvSpPr>
          <p:spPr bwMode="auto">
            <a:xfrm>
              <a:off x="0" y="3139704"/>
              <a:ext cx="5067789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4" name="直接连接符 49"/>
            <p:cNvSpPr>
              <a:spLocks noChangeShapeType="1"/>
            </p:cNvSpPr>
            <p:nvPr/>
          </p:nvSpPr>
          <p:spPr bwMode="auto">
            <a:xfrm flipV="1">
              <a:off x="8684749" y="3132981"/>
              <a:ext cx="3530192" cy="672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5" name="直接连接符 50"/>
            <p:cNvSpPr>
              <a:spLocks noChangeShapeType="1"/>
            </p:cNvSpPr>
            <p:nvPr/>
          </p:nvSpPr>
          <p:spPr bwMode="auto">
            <a:xfrm flipV="1">
              <a:off x="5790673" y="3139704"/>
              <a:ext cx="2156647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143000" y="4867784"/>
            <a:ext cx="6858000" cy="933735"/>
          </a:xfrm>
        </p:spPr>
        <p:txBody>
          <a:bodyPr anchor="b">
            <a:normAutofit/>
          </a:bodyPr>
          <a:lstStyle>
            <a:lvl1pPr algn="ctr">
              <a:defRPr sz="4050"/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143000" y="5830094"/>
            <a:ext cx="6858000" cy="526256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dirty="0" smtClean="0"/>
              <a:t>单击此处编辑副标题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DD9C01C1-1CCF-492C-ACBB-894820C754F4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内容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fld id="{8DFF89C0-CA34-4A92-A120-B91CA7608966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 hasCustomPrompt="1"/>
          </p:nvPr>
        </p:nvSpPr>
        <p:spPr>
          <a:xfrm>
            <a:off x="628650" y="174625"/>
            <a:ext cx="7886700" cy="5994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47937A2-469F-430B-8873-800189D7D9C4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 20"/>
          <p:cNvSpPr>
            <a:spLocks noChangeArrowheads="1"/>
          </p:cNvSpPr>
          <p:nvPr/>
        </p:nvSpPr>
        <p:spPr bwMode="auto">
          <a:xfrm>
            <a:off x="227410" y="-1588"/>
            <a:ext cx="6481763" cy="3740151"/>
          </a:xfrm>
          <a:custGeom>
            <a:avLst/>
            <a:gdLst>
              <a:gd name="T0" fmla="*/ 0 w 8642254"/>
              <a:gd name="T1" fmla="*/ 0 h 3739957"/>
              <a:gd name="T2" fmla="*/ 8642254 w 8642254"/>
              <a:gd name="T3" fmla="*/ 3739957 h 3739957"/>
            </a:gdLst>
            <a:ahLst/>
            <a:cxnLst/>
            <a:rect l="T0" t="T1" r="T2" b="T3"/>
            <a:pathLst>
              <a:path w="8642254" h="3739957">
                <a:moveTo>
                  <a:pt x="1769726" y="1870677"/>
                </a:moveTo>
                <a:lnTo>
                  <a:pt x="1408030" y="2494290"/>
                </a:lnTo>
                <a:lnTo>
                  <a:pt x="1769727" y="1870677"/>
                </a:lnTo>
                <a:close/>
                <a:moveTo>
                  <a:pt x="1046332" y="1870677"/>
                </a:moveTo>
                <a:lnTo>
                  <a:pt x="684638" y="2494290"/>
                </a:lnTo>
                <a:lnTo>
                  <a:pt x="1046333" y="1870677"/>
                </a:lnTo>
                <a:close/>
                <a:moveTo>
                  <a:pt x="6472078" y="1247063"/>
                </a:moveTo>
                <a:lnTo>
                  <a:pt x="6833773" y="1870676"/>
                </a:lnTo>
                <a:lnTo>
                  <a:pt x="6833775" y="1870676"/>
                </a:lnTo>
                <a:lnTo>
                  <a:pt x="7195470" y="1247063"/>
                </a:lnTo>
                <a:lnTo>
                  <a:pt x="7918862" y="1247063"/>
                </a:lnTo>
                <a:lnTo>
                  <a:pt x="8642254" y="1247063"/>
                </a:lnTo>
                <a:lnTo>
                  <a:pt x="8280558" y="1870677"/>
                </a:lnTo>
                <a:lnTo>
                  <a:pt x="7557166" y="1870677"/>
                </a:lnTo>
                <a:lnTo>
                  <a:pt x="7544735" y="1870677"/>
                </a:lnTo>
                <a:lnTo>
                  <a:pt x="7543933" y="1872061"/>
                </a:lnTo>
                <a:lnTo>
                  <a:pt x="7904825" y="2494290"/>
                </a:lnTo>
                <a:lnTo>
                  <a:pt x="7195469" y="2494290"/>
                </a:lnTo>
                <a:lnTo>
                  <a:pt x="7195470" y="2494291"/>
                </a:lnTo>
                <a:lnTo>
                  <a:pt x="6472078" y="2494291"/>
                </a:lnTo>
                <a:lnTo>
                  <a:pt x="6110382" y="1870677"/>
                </a:lnTo>
                <a:close/>
                <a:moveTo>
                  <a:pt x="2131109" y="1247063"/>
                </a:moveTo>
                <a:lnTo>
                  <a:pt x="1769414" y="1870676"/>
                </a:lnTo>
                <a:lnTo>
                  <a:pt x="1769415" y="1870676"/>
                </a:lnTo>
                <a:close/>
                <a:moveTo>
                  <a:pt x="684326" y="1247063"/>
                </a:moveTo>
                <a:lnTo>
                  <a:pt x="322630" y="1870675"/>
                </a:lnTo>
                <a:lnTo>
                  <a:pt x="322630" y="1870676"/>
                </a:lnTo>
                <a:lnTo>
                  <a:pt x="684326" y="1247064"/>
                </a:lnTo>
                <a:close/>
                <a:moveTo>
                  <a:pt x="2491662" y="624881"/>
                </a:moveTo>
                <a:lnTo>
                  <a:pt x="2130797" y="1247062"/>
                </a:lnTo>
                <a:lnTo>
                  <a:pt x="2130797" y="1247063"/>
                </a:lnTo>
                <a:lnTo>
                  <a:pt x="2491663" y="624881"/>
                </a:lnTo>
                <a:close/>
                <a:moveTo>
                  <a:pt x="0" y="623449"/>
                </a:moveTo>
                <a:lnTo>
                  <a:pt x="322317" y="623449"/>
                </a:lnTo>
                <a:lnTo>
                  <a:pt x="0" y="1179169"/>
                </a:lnTo>
                <a:close/>
                <a:moveTo>
                  <a:pt x="6833774" y="623448"/>
                </a:moveTo>
                <a:lnTo>
                  <a:pt x="7195470" y="1247062"/>
                </a:lnTo>
                <a:lnTo>
                  <a:pt x="6472078" y="1247062"/>
                </a:lnTo>
                <a:close/>
                <a:moveTo>
                  <a:pt x="6110382" y="623448"/>
                </a:moveTo>
                <a:lnTo>
                  <a:pt x="6472078" y="1247062"/>
                </a:lnTo>
                <a:lnTo>
                  <a:pt x="5748686" y="1247062"/>
                </a:lnTo>
                <a:close/>
                <a:moveTo>
                  <a:pt x="3216192" y="622668"/>
                </a:moveTo>
                <a:lnTo>
                  <a:pt x="3577888" y="1246282"/>
                </a:lnTo>
                <a:lnTo>
                  <a:pt x="2854496" y="1246282"/>
                </a:lnTo>
                <a:close/>
                <a:moveTo>
                  <a:pt x="7918958" y="0"/>
                </a:moveTo>
                <a:lnTo>
                  <a:pt x="8642158" y="0"/>
                </a:lnTo>
                <a:lnTo>
                  <a:pt x="8280558" y="623448"/>
                </a:lnTo>
                <a:close/>
                <a:moveTo>
                  <a:pt x="6472175" y="0"/>
                </a:moveTo>
                <a:lnTo>
                  <a:pt x="7195374" y="0"/>
                </a:lnTo>
                <a:lnTo>
                  <a:pt x="6833774" y="623448"/>
                </a:lnTo>
                <a:close/>
                <a:moveTo>
                  <a:pt x="5025206" y="0"/>
                </a:moveTo>
                <a:lnTo>
                  <a:pt x="5746597" y="0"/>
                </a:lnTo>
                <a:lnTo>
                  <a:pt x="5385901" y="621889"/>
                </a:lnTo>
                <a:close/>
                <a:moveTo>
                  <a:pt x="4302050" y="0"/>
                </a:moveTo>
                <a:lnTo>
                  <a:pt x="4304957" y="0"/>
                </a:lnTo>
                <a:lnTo>
                  <a:pt x="4665199" y="621108"/>
                </a:lnTo>
                <a:lnTo>
                  <a:pt x="3941807" y="621108"/>
                </a:lnTo>
                <a:close/>
                <a:moveTo>
                  <a:pt x="2855156" y="0"/>
                </a:moveTo>
                <a:lnTo>
                  <a:pt x="2858063" y="0"/>
                </a:lnTo>
                <a:lnTo>
                  <a:pt x="3218238" y="620993"/>
                </a:lnTo>
                <a:lnTo>
                  <a:pt x="3220786" y="616599"/>
                </a:lnTo>
                <a:lnTo>
                  <a:pt x="2863160" y="0"/>
                </a:lnTo>
                <a:lnTo>
                  <a:pt x="4298152" y="0"/>
                </a:lnTo>
                <a:lnTo>
                  <a:pt x="3938379" y="620298"/>
                </a:lnTo>
                <a:lnTo>
                  <a:pt x="3940206" y="623448"/>
                </a:lnTo>
                <a:lnTo>
                  <a:pt x="4301902" y="1247062"/>
                </a:lnTo>
                <a:lnTo>
                  <a:pt x="3578510" y="1247062"/>
                </a:lnTo>
                <a:lnTo>
                  <a:pt x="3216814" y="623448"/>
                </a:lnTo>
                <a:lnTo>
                  <a:pt x="3218171" y="621108"/>
                </a:lnTo>
                <a:lnTo>
                  <a:pt x="2494916" y="621108"/>
                </a:lnTo>
                <a:close/>
                <a:moveTo>
                  <a:pt x="2130545" y="0"/>
                </a:moveTo>
                <a:lnTo>
                  <a:pt x="2853933" y="0"/>
                </a:lnTo>
                <a:lnTo>
                  <a:pt x="2492788" y="622669"/>
                </a:lnTo>
                <a:lnTo>
                  <a:pt x="3213768" y="622669"/>
                </a:lnTo>
                <a:lnTo>
                  <a:pt x="2852902" y="1244851"/>
                </a:lnTo>
                <a:lnTo>
                  <a:pt x="2854185" y="1247063"/>
                </a:lnTo>
                <a:lnTo>
                  <a:pt x="2854496" y="1247063"/>
                </a:lnTo>
                <a:lnTo>
                  <a:pt x="2492806" y="1870676"/>
                </a:lnTo>
                <a:lnTo>
                  <a:pt x="2492807" y="1870676"/>
                </a:lnTo>
                <a:lnTo>
                  <a:pt x="2854496" y="1247063"/>
                </a:lnTo>
                <a:lnTo>
                  <a:pt x="3577435" y="1247063"/>
                </a:lnTo>
                <a:lnTo>
                  <a:pt x="3577888" y="1246282"/>
                </a:lnTo>
                <a:lnTo>
                  <a:pt x="3939584" y="1869896"/>
                </a:lnTo>
                <a:lnTo>
                  <a:pt x="3216645" y="1869896"/>
                </a:lnTo>
                <a:lnTo>
                  <a:pt x="3216192" y="1870676"/>
                </a:lnTo>
                <a:lnTo>
                  <a:pt x="3216503" y="1870676"/>
                </a:lnTo>
                <a:lnTo>
                  <a:pt x="2854807" y="2494290"/>
                </a:lnTo>
                <a:lnTo>
                  <a:pt x="2855118" y="2494290"/>
                </a:lnTo>
                <a:lnTo>
                  <a:pt x="3216814" y="1870677"/>
                </a:lnTo>
                <a:lnTo>
                  <a:pt x="3940206" y="1870677"/>
                </a:lnTo>
                <a:lnTo>
                  <a:pt x="3578510" y="1247063"/>
                </a:lnTo>
                <a:lnTo>
                  <a:pt x="4301902" y="1247063"/>
                </a:lnTo>
                <a:lnTo>
                  <a:pt x="5024205" y="1247063"/>
                </a:lnTo>
                <a:lnTo>
                  <a:pt x="5024206" y="1247062"/>
                </a:lnTo>
                <a:lnTo>
                  <a:pt x="4301902" y="1247062"/>
                </a:lnTo>
                <a:lnTo>
                  <a:pt x="4663598" y="623448"/>
                </a:lnTo>
                <a:lnTo>
                  <a:pt x="5024750" y="1246124"/>
                </a:lnTo>
                <a:lnTo>
                  <a:pt x="5385900" y="623451"/>
                </a:lnTo>
                <a:lnTo>
                  <a:pt x="5747595" y="1247063"/>
                </a:lnTo>
                <a:lnTo>
                  <a:pt x="5748686" y="1247063"/>
                </a:lnTo>
                <a:lnTo>
                  <a:pt x="5386993" y="1870673"/>
                </a:lnTo>
                <a:lnTo>
                  <a:pt x="6096862" y="1870673"/>
                </a:lnTo>
                <a:lnTo>
                  <a:pt x="5741381" y="2483572"/>
                </a:lnTo>
                <a:lnTo>
                  <a:pt x="5747596" y="2494288"/>
                </a:lnTo>
                <a:lnTo>
                  <a:pt x="5024204" y="2494288"/>
                </a:lnTo>
                <a:lnTo>
                  <a:pt x="5379686" y="1881389"/>
                </a:lnTo>
                <a:lnTo>
                  <a:pt x="5373470" y="1870673"/>
                </a:lnTo>
                <a:lnTo>
                  <a:pt x="5386988" y="1870673"/>
                </a:lnTo>
                <a:lnTo>
                  <a:pt x="5025295" y="1247065"/>
                </a:lnTo>
                <a:lnTo>
                  <a:pt x="5025293" y="1247065"/>
                </a:lnTo>
                <a:lnTo>
                  <a:pt x="4663598" y="1870677"/>
                </a:lnTo>
                <a:lnTo>
                  <a:pt x="4301902" y="2494291"/>
                </a:lnTo>
                <a:lnTo>
                  <a:pt x="4300812" y="2494291"/>
                </a:lnTo>
                <a:lnTo>
                  <a:pt x="3939117" y="3117904"/>
                </a:lnTo>
                <a:lnTo>
                  <a:pt x="3577421" y="2494291"/>
                </a:lnTo>
                <a:lnTo>
                  <a:pt x="3576798" y="2494291"/>
                </a:lnTo>
                <a:lnTo>
                  <a:pt x="3575781" y="2496045"/>
                </a:lnTo>
                <a:lnTo>
                  <a:pt x="3937364" y="3119464"/>
                </a:lnTo>
                <a:lnTo>
                  <a:pt x="3928184" y="3119464"/>
                </a:lnTo>
                <a:lnTo>
                  <a:pt x="3574149" y="3729868"/>
                </a:lnTo>
                <a:lnTo>
                  <a:pt x="3580001" y="3739957"/>
                </a:lnTo>
                <a:lnTo>
                  <a:pt x="3568298" y="3739957"/>
                </a:lnTo>
                <a:lnTo>
                  <a:pt x="2856609" y="3739957"/>
                </a:lnTo>
                <a:lnTo>
                  <a:pt x="3210405" y="3129963"/>
                </a:lnTo>
                <a:lnTo>
                  <a:pt x="2504036" y="3129963"/>
                </a:lnTo>
                <a:lnTo>
                  <a:pt x="2863066" y="2510945"/>
                </a:lnTo>
                <a:lnTo>
                  <a:pt x="2853407" y="2494290"/>
                </a:lnTo>
                <a:lnTo>
                  <a:pt x="2131422" y="2494290"/>
                </a:lnTo>
                <a:lnTo>
                  <a:pt x="2131421" y="2494290"/>
                </a:lnTo>
                <a:lnTo>
                  <a:pt x="2128927" y="2494290"/>
                </a:lnTo>
                <a:lnTo>
                  <a:pt x="1767232" y="3117904"/>
                </a:lnTo>
                <a:lnTo>
                  <a:pt x="1405536" y="2494290"/>
                </a:lnTo>
                <a:lnTo>
                  <a:pt x="1404290" y="2494290"/>
                </a:lnTo>
                <a:lnTo>
                  <a:pt x="1765986" y="3117904"/>
                </a:lnTo>
                <a:lnTo>
                  <a:pt x="1042594" y="3117904"/>
                </a:lnTo>
                <a:lnTo>
                  <a:pt x="319202" y="3117904"/>
                </a:lnTo>
                <a:lnTo>
                  <a:pt x="680898" y="2494291"/>
                </a:lnTo>
                <a:lnTo>
                  <a:pt x="680898" y="2494290"/>
                </a:lnTo>
                <a:lnTo>
                  <a:pt x="319202" y="3117904"/>
                </a:lnTo>
                <a:lnTo>
                  <a:pt x="0" y="3117904"/>
                </a:lnTo>
                <a:lnTo>
                  <a:pt x="0" y="2427473"/>
                </a:lnTo>
                <a:lnTo>
                  <a:pt x="322941" y="1870677"/>
                </a:lnTo>
                <a:lnTo>
                  <a:pt x="0" y="2427471"/>
                </a:lnTo>
                <a:lnTo>
                  <a:pt x="0" y="1179170"/>
                </a:lnTo>
                <a:lnTo>
                  <a:pt x="322317" y="623449"/>
                </a:lnTo>
                <a:lnTo>
                  <a:pt x="1045709" y="623449"/>
                </a:lnTo>
                <a:lnTo>
                  <a:pt x="684014" y="1247062"/>
                </a:lnTo>
                <a:lnTo>
                  <a:pt x="684014" y="1247063"/>
                </a:lnTo>
                <a:lnTo>
                  <a:pt x="1045709" y="623450"/>
                </a:lnTo>
                <a:lnTo>
                  <a:pt x="1045709" y="623449"/>
                </a:lnTo>
                <a:lnTo>
                  <a:pt x="1769101" y="623449"/>
                </a:lnTo>
                <a:lnTo>
                  <a:pt x="1407405" y="1247062"/>
                </a:lnTo>
                <a:lnTo>
                  <a:pt x="1407405" y="1247063"/>
                </a:lnTo>
                <a:lnTo>
                  <a:pt x="1769101" y="623450"/>
                </a:lnTo>
                <a:lnTo>
                  <a:pt x="1769101" y="623449"/>
                </a:lnTo>
                <a:lnTo>
                  <a:pt x="2490832" y="623449"/>
                </a:lnTo>
                <a:lnTo>
                  <a:pt x="2490831" y="623448"/>
                </a:lnTo>
                <a:lnTo>
                  <a:pt x="1768944" y="623448"/>
                </a:lnTo>
                <a:close/>
                <a:moveTo>
                  <a:pt x="1407152" y="0"/>
                </a:moveTo>
                <a:lnTo>
                  <a:pt x="2130544" y="0"/>
                </a:lnTo>
                <a:lnTo>
                  <a:pt x="1768944" y="623447"/>
                </a:lnTo>
                <a:lnTo>
                  <a:pt x="1768944" y="623448"/>
                </a:lnTo>
                <a:lnTo>
                  <a:pt x="1045553" y="623448"/>
                </a:lnTo>
                <a:close/>
                <a:moveTo>
                  <a:pt x="683760" y="0"/>
                </a:moveTo>
                <a:lnTo>
                  <a:pt x="1407152" y="0"/>
                </a:lnTo>
                <a:lnTo>
                  <a:pt x="1045553" y="623447"/>
                </a:lnTo>
                <a:lnTo>
                  <a:pt x="1045553" y="623448"/>
                </a:lnTo>
                <a:lnTo>
                  <a:pt x="1045552" y="623448"/>
                </a:lnTo>
                <a:lnTo>
                  <a:pt x="322160" y="623448"/>
                </a:lnTo>
                <a:close/>
                <a:moveTo>
                  <a:pt x="0" y="0"/>
                </a:moveTo>
                <a:lnTo>
                  <a:pt x="683760" y="0"/>
                </a:lnTo>
                <a:lnTo>
                  <a:pt x="322160" y="623447"/>
                </a:lnTo>
                <a:lnTo>
                  <a:pt x="322160" y="623448"/>
                </a:lnTo>
                <a:lnTo>
                  <a:pt x="322159" y="623448"/>
                </a:lnTo>
                <a:lnTo>
                  <a:pt x="0" y="623448"/>
                </a:lnTo>
                <a:close/>
              </a:path>
            </a:pathLst>
          </a:custGeom>
          <a:gradFill rotWithShape="1">
            <a:gsLst>
              <a:gs pos="0">
                <a:srgbClr val="284482"/>
              </a:gs>
              <a:gs pos="29999">
                <a:srgbClr val="834F9B"/>
              </a:gs>
              <a:gs pos="64999">
                <a:srgbClr val="A4377B"/>
              </a:gs>
              <a:gs pos="92000">
                <a:srgbClr val="FD9A55"/>
              </a:gs>
              <a:gs pos="100000">
                <a:srgbClr val="FD9A55"/>
              </a:gs>
            </a:gsLst>
            <a:lin ang="19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8" name="任意多边形 141"/>
          <p:cNvSpPr>
            <a:spLocks noChangeArrowheads="1"/>
          </p:cNvSpPr>
          <p:nvPr/>
        </p:nvSpPr>
        <p:spPr bwMode="auto">
          <a:xfrm>
            <a:off x="-7143" y="-19050"/>
            <a:ext cx="6480572" cy="3740150"/>
          </a:xfrm>
          <a:custGeom>
            <a:avLst/>
            <a:gdLst>
              <a:gd name="T0" fmla="*/ 0 w 8642254"/>
              <a:gd name="T1" fmla="*/ 0 h 3739957"/>
              <a:gd name="T2" fmla="*/ 8642254 w 8642254"/>
              <a:gd name="T3" fmla="*/ 3739957 h 3739957"/>
            </a:gdLst>
            <a:ahLst/>
            <a:cxnLst/>
            <a:rect l="T0" t="T1" r="T2" b="T3"/>
            <a:pathLst>
              <a:path w="8642254" h="3739957">
                <a:moveTo>
                  <a:pt x="1769726" y="1870677"/>
                </a:moveTo>
                <a:lnTo>
                  <a:pt x="1408030" y="2494290"/>
                </a:lnTo>
                <a:lnTo>
                  <a:pt x="1769727" y="1870677"/>
                </a:lnTo>
                <a:close/>
                <a:moveTo>
                  <a:pt x="1046332" y="1870677"/>
                </a:moveTo>
                <a:lnTo>
                  <a:pt x="684638" y="2494290"/>
                </a:lnTo>
                <a:lnTo>
                  <a:pt x="1046333" y="1870677"/>
                </a:lnTo>
                <a:close/>
                <a:moveTo>
                  <a:pt x="6472078" y="1247063"/>
                </a:moveTo>
                <a:lnTo>
                  <a:pt x="6833773" y="1870676"/>
                </a:lnTo>
                <a:lnTo>
                  <a:pt x="6833775" y="1870676"/>
                </a:lnTo>
                <a:lnTo>
                  <a:pt x="7195470" y="1247063"/>
                </a:lnTo>
                <a:lnTo>
                  <a:pt x="7918862" y="1247063"/>
                </a:lnTo>
                <a:lnTo>
                  <a:pt x="8642254" y="1247063"/>
                </a:lnTo>
                <a:lnTo>
                  <a:pt x="8280558" y="1870677"/>
                </a:lnTo>
                <a:lnTo>
                  <a:pt x="7557166" y="1870677"/>
                </a:lnTo>
                <a:lnTo>
                  <a:pt x="7544735" y="1870677"/>
                </a:lnTo>
                <a:lnTo>
                  <a:pt x="7543933" y="1872061"/>
                </a:lnTo>
                <a:lnTo>
                  <a:pt x="7904825" y="2494290"/>
                </a:lnTo>
                <a:lnTo>
                  <a:pt x="7195469" y="2494290"/>
                </a:lnTo>
                <a:lnTo>
                  <a:pt x="7195470" y="2494291"/>
                </a:lnTo>
                <a:lnTo>
                  <a:pt x="6472078" y="2494291"/>
                </a:lnTo>
                <a:lnTo>
                  <a:pt x="6110382" y="1870677"/>
                </a:lnTo>
                <a:close/>
                <a:moveTo>
                  <a:pt x="2131109" y="1247063"/>
                </a:moveTo>
                <a:lnTo>
                  <a:pt x="1769414" y="1870676"/>
                </a:lnTo>
                <a:lnTo>
                  <a:pt x="1769415" y="1870676"/>
                </a:lnTo>
                <a:close/>
                <a:moveTo>
                  <a:pt x="684326" y="1247063"/>
                </a:moveTo>
                <a:lnTo>
                  <a:pt x="322630" y="1870675"/>
                </a:lnTo>
                <a:lnTo>
                  <a:pt x="322630" y="1870676"/>
                </a:lnTo>
                <a:lnTo>
                  <a:pt x="684326" y="1247064"/>
                </a:lnTo>
                <a:close/>
                <a:moveTo>
                  <a:pt x="2491662" y="624881"/>
                </a:moveTo>
                <a:lnTo>
                  <a:pt x="2130797" y="1247062"/>
                </a:lnTo>
                <a:lnTo>
                  <a:pt x="2130797" y="1247063"/>
                </a:lnTo>
                <a:lnTo>
                  <a:pt x="2491663" y="624881"/>
                </a:lnTo>
                <a:close/>
                <a:moveTo>
                  <a:pt x="0" y="623449"/>
                </a:moveTo>
                <a:lnTo>
                  <a:pt x="322317" y="623449"/>
                </a:lnTo>
                <a:lnTo>
                  <a:pt x="0" y="1179169"/>
                </a:lnTo>
                <a:close/>
                <a:moveTo>
                  <a:pt x="6833774" y="623448"/>
                </a:moveTo>
                <a:lnTo>
                  <a:pt x="7195470" y="1247062"/>
                </a:lnTo>
                <a:lnTo>
                  <a:pt x="6472078" y="1247062"/>
                </a:lnTo>
                <a:close/>
                <a:moveTo>
                  <a:pt x="6110382" y="623448"/>
                </a:moveTo>
                <a:lnTo>
                  <a:pt x="6472078" y="1247062"/>
                </a:lnTo>
                <a:lnTo>
                  <a:pt x="5748686" y="1247062"/>
                </a:lnTo>
                <a:close/>
                <a:moveTo>
                  <a:pt x="3216192" y="622668"/>
                </a:moveTo>
                <a:lnTo>
                  <a:pt x="3577888" y="1246282"/>
                </a:lnTo>
                <a:lnTo>
                  <a:pt x="2854496" y="1246282"/>
                </a:lnTo>
                <a:close/>
                <a:moveTo>
                  <a:pt x="7918958" y="0"/>
                </a:moveTo>
                <a:lnTo>
                  <a:pt x="8642158" y="0"/>
                </a:lnTo>
                <a:lnTo>
                  <a:pt x="8280558" y="623448"/>
                </a:lnTo>
                <a:close/>
                <a:moveTo>
                  <a:pt x="6472175" y="0"/>
                </a:moveTo>
                <a:lnTo>
                  <a:pt x="7195374" y="0"/>
                </a:lnTo>
                <a:lnTo>
                  <a:pt x="6833774" y="623448"/>
                </a:lnTo>
                <a:close/>
                <a:moveTo>
                  <a:pt x="5025206" y="0"/>
                </a:moveTo>
                <a:lnTo>
                  <a:pt x="5746597" y="0"/>
                </a:lnTo>
                <a:lnTo>
                  <a:pt x="5385901" y="621889"/>
                </a:lnTo>
                <a:close/>
                <a:moveTo>
                  <a:pt x="4302050" y="0"/>
                </a:moveTo>
                <a:lnTo>
                  <a:pt x="4304957" y="0"/>
                </a:lnTo>
                <a:lnTo>
                  <a:pt x="4665199" y="621108"/>
                </a:lnTo>
                <a:lnTo>
                  <a:pt x="3941807" y="621108"/>
                </a:lnTo>
                <a:close/>
                <a:moveTo>
                  <a:pt x="2855156" y="0"/>
                </a:moveTo>
                <a:lnTo>
                  <a:pt x="2858063" y="0"/>
                </a:lnTo>
                <a:lnTo>
                  <a:pt x="3218238" y="620993"/>
                </a:lnTo>
                <a:lnTo>
                  <a:pt x="3220786" y="616599"/>
                </a:lnTo>
                <a:lnTo>
                  <a:pt x="2863160" y="0"/>
                </a:lnTo>
                <a:lnTo>
                  <a:pt x="4298152" y="0"/>
                </a:lnTo>
                <a:lnTo>
                  <a:pt x="3938379" y="620298"/>
                </a:lnTo>
                <a:lnTo>
                  <a:pt x="3940206" y="623448"/>
                </a:lnTo>
                <a:lnTo>
                  <a:pt x="4301902" y="1247062"/>
                </a:lnTo>
                <a:lnTo>
                  <a:pt x="3578510" y="1247062"/>
                </a:lnTo>
                <a:lnTo>
                  <a:pt x="3216814" y="623448"/>
                </a:lnTo>
                <a:lnTo>
                  <a:pt x="3218171" y="621108"/>
                </a:lnTo>
                <a:lnTo>
                  <a:pt x="2494916" y="621108"/>
                </a:lnTo>
                <a:close/>
                <a:moveTo>
                  <a:pt x="2130545" y="0"/>
                </a:moveTo>
                <a:lnTo>
                  <a:pt x="2853933" y="0"/>
                </a:lnTo>
                <a:lnTo>
                  <a:pt x="2492788" y="622669"/>
                </a:lnTo>
                <a:lnTo>
                  <a:pt x="3213768" y="622669"/>
                </a:lnTo>
                <a:lnTo>
                  <a:pt x="2852902" y="1244851"/>
                </a:lnTo>
                <a:lnTo>
                  <a:pt x="2854185" y="1247063"/>
                </a:lnTo>
                <a:lnTo>
                  <a:pt x="2854496" y="1247063"/>
                </a:lnTo>
                <a:lnTo>
                  <a:pt x="2492806" y="1870676"/>
                </a:lnTo>
                <a:lnTo>
                  <a:pt x="2492807" y="1870676"/>
                </a:lnTo>
                <a:lnTo>
                  <a:pt x="2854496" y="1247063"/>
                </a:lnTo>
                <a:lnTo>
                  <a:pt x="3577435" y="1247063"/>
                </a:lnTo>
                <a:lnTo>
                  <a:pt x="3577888" y="1246282"/>
                </a:lnTo>
                <a:lnTo>
                  <a:pt x="3939584" y="1869896"/>
                </a:lnTo>
                <a:lnTo>
                  <a:pt x="3216645" y="1869896"/>
                </a:lnTo>
                <a:lnTo>
                  <a:pt x="3216192" y="1870676"/>
                </a:lnTo>
                <a:lnTo>
                  <a:pt x="3216503" y="1870676"/>
                </a:lnTo>
                <a:lnTo>
                  <a:pt x="2854807" y="2494290"/>
                </a:lnTo>
                <a:lnTo>
                  <a:pt x="2855118" y="2494290"/>
                </a:lnTo>
                <a:lnTo>
                  <a:pt x="3216814" y="1870677"/>
                </a:lnTo>
                <a:lnTo>
                  <a:pt x="3940206" y="1870677"/>
                </a:lnTo>
                <a:lnTo>
                  <a:pt x="3578510" y="1247063"/>
                </a:lnTo>
                <a:lnTo>
                  <a:pt x="4301902" y="1247063"/>
                </a:lnTo>
                <a:lnTo>
                  <a:pt x="5024205" y="1247063"/>
                </a:lnTo>
                <a:lnTo>
                  <a:pt x="5024206" y="1247062"/>
                </a:lnTo>
                <a:lnTo>
                  <a:pt x="4301902" y="1247062"/>
                </a:lnTo>
                <a:lnTo>
                  <a:pt x="4663598" y="623448"/>
                </a:lnTo>
                <a:lnTo>
                  <a:pt x="5024750" y="1246124"/>
                </a:lnTo>
                <a:lnTo>
                  <a:pt x="5385900" y="623451"/>
                </a:lnTo>
                <a:lnTo>
                  <a:pt x="5747595" y="1247063"/>
                </a:lnTo>
                <a:lnTo>
                  <a:pt x="5748686" y="1247063"/>
                </a:lnTo>
                <a:lnTo>
                  <a:pt x="5386993" y="1870673"/>
                </a:lnTo>
                <a:lnTo>
                  <a:pt x="6096862" y="1870673"/>
                </a:lnTo>
                <a:lnTo>
                  <a:pt x="5741381" y="2483572"/>
                </a:lnTo>
                <a:lnTo>
                  <a:pt x="5747596" y="2494288"/>
                </a:lnTo>
                <a:lnTo>
                  <a:pt x="5024204" y="2494288"/>
                </a:lnTo>
                <a:lnTo>
                  <a:pt x="5379686" y="1881389"/>
                </a:lnTo>
                <a:lnTo>
                  <a:pt x="5373470" y="1870673"/>
                </a:lnTo>
                <a:lnTo>
                  <a:pt x="5386988" y="1870673"/>
                </a:lnTo>
                <a:lnTo>
                  <a:pt x="5025295" y="1247065"/>
                </a:lnTo>
                <a:lnTo>
                  <a:pt x="5025293" y="1247065"/>
                </a:lnTo>
                <a:lnTo>
                  <a:pt x="4663598" y="1870677"/>
                </a:lnTo>
                <a:lnTo>
                  <a:pt x="4301902" y="2494291"/>
                </a:lnTo>
                <a:lnTo>
                  <a:pt x="4300812" y="2494291"/>
                </a:lnTo>
                <a:lnTo>
                  <a:pt x="3939117" y="3117904"/>
                </a:lnTo>
                <a:lnTo>
                  <a:pt x="3577421" y="2494291"/>
                </a:lnTo>
                <a:lnTo>
                  <a:pt x="3576798" y="2494291"/>
                </a:lnTo>
                <a:lnTo>
                  <a:pt x="3575781" y="2496045"/>
                </a:lnTo>
                <a:lnTo>
                  <a:pt x="3937364" y="3119464"/>
                </a:lnTo>
                <a:lnTo>
                  <a:pt x="3928184" y="3119464"/>
                </a:lnTo>
                <a:lnTo>
                  <a:pt x="3574149" y="3729868"/>
                </a:lnTo>
                <a:lnTo>
                  <a:pt x="3580001" y="3739957"/>
                </a:lnTo>
                <a:lnTo>
                  <a:pt x="3568298" y="3739957"/>
                </a:lnTo>
                <a:lnTo>
                  <a:pt x="2856609" y="3739957"/>
                </a:lnTo>
                <a:lnTo>
                  <a:pt x="3210405" y="3129963"/>
                </a:lnTo>
                <a:lnTo>
                  <a:pt x="2504036" y="3129963"/>
                </a:lnTo>
                <a:lnTo>
                  <a:pt x="2863066" y="2510945"/>
                </a:lnTo>
                <a:lnTo>
                  <a:pt x="2853407" y="2494290"/>
                </a:lnTo>
                <a:lnTo>
                  <a:pt x="2131422" y="2494290"/>
                </a:lnTo>
                <a:lnTo>
                  <a:pt x="2131421" y="2494290"/>
                </a:lnTo>
                <a:lnTo>
                  <a:pt x="2128927" y="2494290"/>
                </a:lnTo>
                <a:lnTo>
                  <a:pt x="1767232" y="3117904"/>
                </a:lnTo>
                <a:lnTo>
                  <a:pt x="1405536" y="2494290"/>
                </a:lnTo>
                <a:lnTo>
                  <a:pt x="1404290" y="2494290"/>
                </a:lnTo>
                <a:lnTo>
                  <a:pt x="1765986" y="3117904"/>
                </a:lnTo>
                <a:lnTo>
                  <a:pt x="1042594" y="3117904"/>
                </a:lnTo>
                <a:lnTo>
                  <a:pt x="319202" y="3117904"/>
                </a:lnTo>
                <a:lnTo>
                  <a:pt x="680898" y="2494291"/>
                </a:lnTo>
                <a:lnTo>
                  <a:pt x="680898" y="2494290"/>
                </a:lnTo>
                <a:lnTo>
                  <a:pt x="319202" y="3117904"/>
                </a:lnTo>
                <a:lnTo>
                  <a:pt x="0" y="3117904"/>
                </a:lnTo>
                <a:lnTo>
                  <a:pt x="0" y="2427473"/>
                </a:lnTo>
                <a:lnTo>
                  <a:pt x="322941" y="1870677"/>
                </a:lnTo>
                <a:lnTo>
                  <a:pt x="0" y="2427471"/>
                </a:lnTo>
                <a:lnTo>
                  <a:pt x="0" y="1179170"/>
                </a:lnTo>
                <a:lnTo>
                  <a:pt x="322317" y="623449"/>
                </a:lnTo>
                <a:lnTo>
                  <a:pt x="1045709" y="623449"/>
                </a:lnTo>
                <a:lnTo>
                  <a:pt x="684014" y="1247062"/>
                </a:lnTo>
                <a:lnTo>
                  <a:pt x="684014" y="1247063"/>
                </a:lnTo>
                <a:lnTo>
                  <a:pt x="1045709" y="623450"/>
                </a:lnTo>
                <a:lnTo>
                  <a:pt x="1045709" y="623449"/>
                </a:lnTo>
                <a:lnTo>
                  <a:pt x="1769101" y="623449"/>
                </a:lnTo>
                <a:lnTo>
                  <a:pt x="1407405" y="1247062"/>
                </a:lnTo>
                <a:lnTo>
                  <a:pt x="1407405" y="1247063"/>
                </a:lnTo>
                <a:lnTo>
                  <a:pt x="1769101" y="623450"/>
                </a:lnTo>
                <a:lnTo>
                  <a:pt x="1769101" y="623449"/>
                </a:lnTo>
                <a:lnTo>
                  <a:pt x="2490832" y="623449"/>
                </a:lnTo>
                <a:lnTo>
                  <a:pt x="2490831" y="623448"/>
                </a:lnTo>
                <a:lnTo>
                  <a:pt x="1768944" y="623448"/>
                </a:lnTo>
                <a:close/>
                <a:moveTo>
                  <a:pt x="1407152" y="0"/>
                </a:moveTo>
                <a:lnTo>
                  <a:pt x="2130544" y="0"/>
                </a:lnTo>
                <a:lnTo>
                  <a:pt x="1768944" y="623447"/>
                </a:lnTo>
                <a:lnTo>
                  <a:pt x="1768944" y="623448"/>
                </a:lnTo>
                <a:lnTo>
                  <a:pt x="1045553" y="623448"/>
                </a:lnTo>
                <a:close/>
                <a:moveTo>
                  <a:pt x="683760" y="0"/>
                </a:moveTo>
                <a:lnTo>
                  <a:pt x="1407152" y="0"/>
                </a:lnTo>
                <a:lnTo>
                  <a:pt x="1045553" y="623447"/>
                </a:lnTo>
                <a:lnTo>
                  <a:pt x="1045553" y="623448"/>
                </a:lnTo>
                <a:lnTo>
                  <a:pt x="1045552" y="623448"/>
                </a:lnTo>
                <a:lnTo>
                  <a:pt x="322160" y="623448"/>
                </a:lnTo>
                <a:close/>
                <a:moveTo>
                  <a:pt x="0" y="0"/>
                </a:moveTo>
                <a:lnTo>
                  <a:pt x="683760" y="0"/>
                </a:lnTo>
                <a:lnTo>
                  <a:pt x="322160" y="623447"/>
                </a:lnTo>
                <a:lnTo>
                  <a:pt x="322160" y="623448"/>
                </a:lnTo>
                <a:lnTo>
                  <a:pt x="322159" y="623448"/>
                </a:lnTo>
                <a:lnTo>
                  <a:pt x="0" y="623448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grpSp>
        <p:nvGrpSpPr>
          <p:cNvPr id="9" name="组合 139"/>
          <p:cNvGrpSpPr/>
          <p:nvPr/>
        </p:nvGrpSpPr>
        <p:grpSpPr bwMode="auto">
          <a:xfrm>
            <a:off x="-50007" y="-41275"/>
            <a:ext cx="6224588" cy="3762375"/>
            <a:chOff x="0" y="0"/>
            <a:chExt cx="8300393" cy="3762843"/>
          </a:xfrm>
        </p:grpSpPr>
        <p:cxnSp>
          <p:nvCxnSpPr>
            <p:cNvPr id="10" name="直接连接符 2"/>
            <p:cNvCxnSpPr>
              <a:cxnSpLocks noChangeShapeType="1"/>
            </p:cNvCxnSpPr>
            <p:nvPr/>
          </p:nvCxnSpPr>
          <p:spPr bwMode="auto">
            <a:xfrm>
              <a:off x="18946" y="37762"/>
              <a:ext cx="1796800" cy="310302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" name="直接连接符 107"/>
            <p:cNvSpPr>
              <a:spLocks noChangeShapeType="1"/>
            </p:cNvSpPr>
            <p:nvPr/>
          </p:nvSpPr>
          <p:spPr bwMode="auto">
            <a:xfrm>
              <a:off x="733203" y="20380"/>
              <a:ext cx="1445484" cy="249679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2" name="直接连接符 108"/>
            <p:cNvSpPr>
              <a:spLocks noChangeShapeType="1"/>
            </p:cNvSpPr>
            <p:nvPr/>
          </p:nvSpPr>
          <p:spPr bwMode="auto">
            <a:xfrm>
              <a:off x="1447207" y="6680"/>
              <a:ext cx="2170852" cy="375616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3" name="直接连接符 109"/>
            <p:cNvSpPr>
              <a:spLocks noChangeShapeType="1"/>
            </p:cNvSpPr>
            <p:nvPr/>
          </p:nvSpPr>
          <p:spPr bwMode="auto">
            <a:xfrm>
              <a:off x="2176483" y="18345"/>
              <a:ext cx="1812395" cy="3122445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4" name="直接连接符 110"/>
            <p:cNvSpPr>
              <a:spLocks noChangeShapeType="1"/>
            </p:cNvSpPr>
            <p:nvPr/>
          </p:nvSpPr>
          <p:spPr bwMode="auto">
            <a:xfrm>
              <a:off x="2906581" y="15700"/>
              <a:ext cx="1445484" cy="249679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5" name="直接连接符 111"/>
            <p:cNvSpPr>
              <a:spLocks noChangeShapeType="1"/>
            </p:cNvSpPr>
            <p:nvPr/>
          </p:nvSpPr>
          <p:spPr bwMode="auto">
            <a:xfrm flipH="1">
              <a:off x="2903838" y="27060"/>
              <a:ext cx="1445484" cy="249679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6" name="直接连接符 112"/>
            <p:cNvSpPr>
              <a:spLocks noChangeShapeType="1"/>
            </p:cNvSpPr>
            <p:nvPr/>
          </p:nvSpPr>
          <p:spPr bwMode="auto">
            <a:xfrm flipH="1">
              <a:off x="2197170" y="0"/>
              <a:ext cx="1445484" cy="249679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7" name="直接连接符 113"/>
            <p:cNvSpPr>
              <a:spLocks noChangeShapeType="1"/>
            </p:cNvSpPr>
            <p:nvPr/>
          </p:nvSpPr>
          <p:spPr bwMode="auto">
            <a:xfrm flipH="1">
              <a:off x="1083358" y="22720"/>
              <a:ext cx="1820432" cy="313250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8" name="直接连接符 114"/>
            <p:cNvSpPr>
              <a:spLocks noChangeShapeType="1"/>
            </p:cNvSpPr>
            <p:nvPr/>
          </p:nvSpPr>
          <p:spPr bwMode="auto">
            <a:xfrm flipH="1">
              <a:off x="363520" y="21940"/>
              <a:ext cx="1820432" cy="313250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9" name="直接连接符 115"/>
            <p:cNvSpPr>
              <a:spLocks noChangeShapeType="1"/>
            </p:cNvSpPr>
            <p:nvPr/>
          </p:nvSpPr>
          <p:spPr bwMode="auto">
            <a:xfrm flipH="1">
              <a:off x="23612" y="22720"/>
              <a:ext cx="1433394" cy="247088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0" name="直接连接符 116"/>
            <p:cNvSpPr>
              <a:spLocks noChangeShapeType="1"/>
            </p:cNvSpPr>
            <p:nvPr/>
          </p:nvSpPr>
          <p:spPr bwMode="auto">
            <a:xfrm flipH="1">
              <a:off x="7381" y="22720"/>
              <a:ext cx="726233" cy="127079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1" name="直接连接符 117"/>
            <p:cNvSpPr>
              <a:spLocks noChangeShapeType="1"/>
            </p:cNvSpPr>
            <p:nvPr/>
          </p:nvSpPr>
          <p:spPr bwMode="auto">
            <a:xfrm flipH="1">
              <a:off x="2930517" y="1245209"/>
              <a:ext cx="1445484" cy="249679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2" name="直接连接符 118"/>
            <p:cNvSpPr>
              <a:spLocks noChangeShapeType="1"/>
            </p:cNvSpPr>
            <p:nvPr/>
          </p:nvSpPr>
          <p:spPr bwMode="auto">
            <a:xfrm>
              <a:off x="3626406" y="4340"/>
              <a:ext cx="1086953" cy="188922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3" name="直接连接符 119"/>
            <p:cNvSpPr>
              <a:spLocks noChangeShapeType="1"/>
            </p:cNvSpPr>
            <p:nvPr/>
          </p:nvSpPr>
          <p:spPr bwMode="auto">
            <a:xfrm>
              <a:off x="8590" y="1268852"/>
              <a:ext cx="1086953" cy="188922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4" name="直接连接符 120"/>
            <p:cNvSpPr>
              <a:spLocks noChangeShapeType="1"/>
            </p:cNvSpPr>
            <p:nvPr/>
          </p:nvSpPr>
          <p:spPr bwMode="auto">
            <a:xfrm>
              <a:off x="19924" y="2529996"/>
              <a:ext cx="349038" cy="61079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5" name="直接连接符 121"/>
            <p:cNvSpPr>
              <a:spLocks noChangeShapeType="1"/>
            </p:cNvSpPr>
            <p:nvPr/>
          </p:nvSpPr>
          <p:spPr bwMode="auto">
            <a:xfrm>
              <a:off x="5427880" y="1893122"/>
              <a:ext cx="349038" cy="61079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6" name="直接连接符 122"/>
            <p:cNvSpPr>
              <a:spLocks noChangeShapeType="1"/>
            </p:cNvSpPr>
            <p:nvPr/>
          </p:nvSpPr>
          <p:spPr bwMode="auto">
            <a:xfrm>
              <a:off x="6521839" y="1269949"/>
              <a:ext cx="702337" cy="124722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7" name="直接连接符 123"/>
            <p:cNvSpPr>
              <a:spLocks noChangeShapeType="1"/>
            </p:cNvSpPr>
            <p:nvPr/>
          </p:nvSpPr>
          <p:spPr bwMode="auto">
            <a:xfrm flipH="1">
              <a:off x="6521839" y="1901702"/>
              <a:ext cx="349038" cy="61079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8" name="直接连接符 124"/>
            <p:cNvSpPr>
              <a:spLocks noChangeShapeType="1"/>
            </p:cNvSpPr>
            <p:nvPr/>
          </p:nvSpPr>
          <p:spPr bwMode="auto">
            <a:xfrm flipH="1">
              <a:off x="7236834" y="1269949"/>
              <a:ext cx="731789" cy="125390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9" name="直接连接符 125"/>
            <p:cNvSpPr>
              <a:spLocks noChangeShapeType="1"/>
            </p:cNvSpPr>
            <p:nvPr/>
          </p:nvSpPr>
          <p:spPr bwMode="auto">
            <a:xfrm>
              <a:off x="7251560" y="1270678"/>
              <a:ext cx="349038" cy="61079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0" name="直接连接符 126"/>
            <p:cNvSpPr>
              <a:spLocks noChangeShapeType="1"/>
            </p:cNvSpPr>
            <p:nvPr/>
          </p:nvSpPr>
          <p:spPr bwMode="auto">
            <a:xfrm>
              <a:off x="7951355" y="1282793"/>
              <a:ext cx="349038" cy="61079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1" name="直接连接符 127"/>
            <p:cNvSpPr>
              <a:spLocks noChangeShapeType="1"/>
            </p:cNvSpPr>
            <p:nvPr/>
          </p:nvSpPr>
          <p:spPr bwMode="auto">
            <a:xfrm flipH="1">
              <a:off x="5787476" y="1269948"/>
              <a:ext cx="734363" cy="124566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2" name="直接连接符 128"/>
            <p:cNvSpPr>
              <a:spLocks noChangeShapeType="1"/>
            </p:cNvSpPr>
            <p:nvPr/>
          </p:nvSpPr>
          <p:spPr bwMode="auto">
            <a:xfrm flipH="1" flipV="1">
              <a:off x="3199" y="636466"/>
              <a:ext cx="4710160" cy="986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3" name="直接连接符 129"/>
            <p:cNvSpPr>
              <a:spLocks noChangeShapeType="1"/>
            </p:cNvSpPr>
            <p:nvPr/>
          </p:nvSpPr>
          <p:spPr bwMode="auto">
            <a:xfrm flipH="1" flipV="1">
              <a:off x="0" y="1269415"/>
              <a:ext cx="5075055" cy="53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4" name="直接连接符 131"/>
            <p:cNvSpPr>
              <a:spLocks noChangeShapeType="1"/>
            </p:cNvSpPr>
            <p:nvPr/>
          </p:nvSpPr>
          <p:spPr bwMode="auto">
            <a:xfrm flipH="1">
              <a:off x="48521" y="1893563"/>
              <a:ext cx="4664838" cy="758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5" name="直接连接符 133"/>
            <p:cNvSpPr>
              <a:spLocks noChangeShapeType="1"/>
            </p:cNvSpPr>
            <p:nvPr/>
          </p:nvSpPr>
          <p:spPr bwMode="auto">
            <a:xfrm flipH="1">
              <a:off x="25860" y="2517176"/>
              <a:ext cx="4324714" cy="91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6" name="直接连接符 137"/>
            <p:cNvSpPr>
              <a:spLocks noChangeShapeType="1"/>
            </p:cNvSpPr>
            <p:nvPr/>
          </p:nvSpPr>
          <p:spPr bwMode="auto">
            <a:xfrm flipH="1">
              <a:off x="3246979" y="3140790"/>
              <a:ext cx="741899" cy="807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CE94422D-BB91-448C-9F20-176C11E7AE92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402081" y="3647233"/>
            <a:ext cx="7113270" cy="936946"/>
          </a:xfrm>
        </p:spPr>
        <p:txBody>
          <a:bodyPr anchor="b">
            <a:normAutofit/>
          </a:bodyPr>
          <a:lstStyle>
            <a:lvl1pPr algn="r">
              <a:defRPr sz="4400" b="1">
                <a:solidFill>
                  <a:srgbClr val="422657"/>
                </a:solidFill>
              </a:defRPr>
            </a:lvl1pPr>
          </a:lstStyle>
          <a:p>
            <a:r>
              <a:rPr lang="zh-CN" altLang="en-US" dirty="0" smtClean="0"/>
              <a:t>编辑标题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1402081" y="4611168"/>
            <a:ext cx="7113270" cy="1500187"/>
          </a:xfrm>
        </p:spPr>
        <p:txBody>
          <a:bodyPr>
            <a:normAutofit/>
          </a:bodyPr>
          <a:lstStyle>
            <a:lvl1pPr marL="0" indent="0" algn="r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zh-CN" altLang="en-US" dirty="0"/>
              <a:t>编辑文本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1B70300A-5ACB-404D-AF4E-E2313E9AD61E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29842" y="1781175"/>
            <a:ext cx="3868340" cy="647700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dirty="0"/>
              <a:t>编辑文本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29842" y="2505075"/>
            <a:ext cx="3868340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781175"/>
            <a:ext cx="3887391" cy="647700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dirty="0"/>
              <a:t>编辑文本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4629150" y="2505075"/>
            <a:ext cx="3887391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1DAEA641-2477-4BB8-B601-49935F1BCB30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98B535D4-E014-4228-827E-D87C7873FD82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任意多边形 54"/>
          <p:cNvSpPr>
            <a:spLocks noChangeArrowheads="1"/>
          </p:cNvSpPr>
          <p:nvPr/>
        </p:nvSpPr>
        <p:spPr bwMode="auto">
          <a:xfrm>
            <a:off x="-814230" y="1132956"/>
            <a:ext cx="10772461" cy="4438027"/>
          </a:xfrm>
          <a:custGeom>
            <a:avLst/>
            <a:gdLst>
              <a:gd name="T0" fmla="*/ 0 w 12191999"/>
              <a:gd name="T1" fmla="*/ 0 h 3767388"/>
              <a:gd name="T2" fmla="*/ 1801281 w 12191999"/>
              <a:gd name="T3" fmla="*/ 0 h 3767388"/>
              <a:gd name="T4" fmla="*/ 1431236 w 12191999"/>
              <a:gd name="T5" fmla="*/ 638878 h 3767388"/>
              <a:gd name="T6" fmla="*/ 2905722 w 12191999"/>
              <a:gd name="T7" fmla="*/ 638878 h 3767388"/>
              <a:gd name="T8" fmla="*/ 3275767 w 12191999"/>
              <a:gd name="T9" fmla="*/ 0 h 3767388"/>
              <a:gd name="T10" fmla="*/ 3969467 w 12191999"/>
              <a:gd name="T11" fmla="*/ 0 h 3767388"/>
              <a:gd name="T12" fmla="*/ 3968353 w 12191999"/>
              <a:gd name="T13" fmla="*/ 2680 h 3767388"/>
              <a:gd name="T14" fmla="*/ 3967876 w 12191999"/>
              <a:gd name="T15" fmla="*/ 2680 h 3767388"/>
              <a:gd name="T16" fmla="*/ 3597832 w 12191999"/>
              <a:gd name="T17" fmla="*/ 641558 h 3767388"/>
              <a:gd name="T18" fmla="*/ 5072316 w 12191999"/>
              <a:gd name="T19" fmla="*/ 641558 h 3767388"/>
              <a:gd name="T20" fmla="*/ 5073521 w 12191999"/>
              <a:gd name="T21" fmla="*/ 639479 h 3767388"/>
              <a:gd name="T22" fmla="*/ 5822782 w 12191999"/>
              <a:gd name="T23" fmla="*/ 639479 h 3767388"/>
              <a:gd name="T24" fmla="*/ 5452737 w 12191999"/>
              <a:gd name="T25" fmla="*/ 599 h 3767388"/>
              <a:gd name="T26" fmla="*/ 5439486 w 12191999"/>
              <a:gd name="T27" fmla="*/ 599 h 3767388"/>
              <a:gd name="T28" fmla="*/ 5439237 w 12191999"/>
              <a:gd name="T29" fmla="*/ 0 h 3767388"/>
              <a:gd name="T30" fmla="*/ 9033832 w 12191999"/>
              <a:gd name="T31" fmla="*/ 0 h 3767388"/>
              <a:gd name="T32" fmla="*/ 9034308 w 12191999"/>
              <a:gd name="T33" fmla="*/ 1067 h 3767388"/>
              <a:gd name="T34" fmla="*/ 9018031 w 12191999"/>
              <a:gd name="T35" fmla="*/ 1067 h 3767388"/>
              <a:gd name="T36" fmla="*/ 9420612 w 12191999"/>
              <a:gd name="T37" fmla="*/ 695171 h 3767388"/>
              <a:gd name="T38" fmla="*/ 9823192 w 12191999"/>
              <a:gd name="T39" fmla="*/ 1067 h 3767388"/>
              <a:gd name="T40" fmla="*/ 9802096 w 12191999"/>
              <a:gd name="T41" fmla="*/ 1067 h 3767388"/>
              <a:gd name="T42" fmla="*/ 9802572 w 12191999"/>
              <a:gd name="T43" fmla="*/ 0 h 3767388"/>
              <a:gd name="T44" fmla="*/ 12191999 w 12191999"/>
              <a:gd name="T45" fmla="*/ 0 h 3767388"/>
              <a:gd name="T46" fmla="*/ 12191999 w 12191999"/>
              <a:gd name="T47" fmla="*/ 3127156 h 3767388"/>
              <a:gd name="T48" fmla="*/ 8682646 w 12191999"/>
              <a:gd name="T49" fmla="*/ 3127156 h 3767388"/>
              <a:gd name="T50" fmla="*/ 8317116 w 12191999"/>
              <a:gd name="T51" fmla="*/ 2496845 h 3767388"/>
              <a:gd name="T52" fmla="*/ 7578808 w 12191999"/>
              <a:gd name="T53" fmla="*/ 2497238 h 3767388"/>
              <a:gd name="T54" fmla="*/ 7944110 w 12191999"/>
              <a:gd name="T55" fmla="*/ 3127156 h 3767388"/>
              <a:gd name="T56" fmla="*/ 6523523 w 12191999"/>
              <a:gd name="T57" fmla="*/ 3127156 h 3767388"/>
              <a:gd name="T58" fmla="*/ 6893568 w 12191999"/>
              <a:gd name="T59" fmla="*/ 3766035 h 3767388"/>
              <a:gd name="T60" fmla="*/ 6906039 w 12191999"/>
              <a:gd name="T61" fmla="*/ 3766035 h 3767388"/>
              <a:gd name="T62" fmla="*/ 6906039 w 12191999"/>
              <a:gd name="T63" fmla="*/ 3767388 h 3767388"/>
              <a:gd name="T64" fmla="*/ 6171171 w 12191999"/>
              <a:gd name="T65" fmla="*/ 3767388 h 3767388"/>
              <a:gd name="T66" fmla="*/ 5805034 w 12191999"/>
              <a:gd name="T67" fmla="*/ 3136032 h 3767388"/>
              <a:gd name="T68" fmla="*/ 5813781 w 12191999"/>
              <a:gd name="T69" fmla="*/ 3120932 h 3767388"/>
              <a:gd name="T70" fmla="*/ 5796279 w 12191999"/>
              <a:gd name="T71" fmla="*/ 3120932 h 3767388"/>
              <a:gd name="T72" fmla="*/ 5435842 w 12191999"/>
              <a:gd name="T73" fmla="*/ 2499405 h 3767388"/>
              <a:gd name="T74" fmla="*/ 4697534 w 12191999"/>
              <a:gd name="T75" fmla="*/ 2499798 h 3767388"/>
              <a:gd name="T76" fmla="*/ 5057742 w 12191999"/>
              <a:gd name="T77" fmla="*/ 3120932 h 3767388"/>
              <a:gd name="T78" fmla="*/ 4339295 w 12191999"/>
              <a:gd name="T79" fmla="*/ 3120932 h 3767388"/>
              <a:gd name="T80" fmla="*/ 3977091 w 12191999"/>
              <a:gd name="T81" fmla="*/ 3746277 h 3767388"/>
              <a:gd name="T82" fmla="*/ 3963972 w 12191999"/>
              <a:gd name="T83" fmla="*/ 3746277 h 3767388"/>
              <a:gd name="T84" fmla="*/ 3963972 w 12191999"/>
              <a:gd name="T85" fmla="*/ 3767388 h 3767388"/>
              <a:gd name="T86" fmla="*/ 3314160 w 12191999"/>
              <a:gd name="T87" fmla="*/ 3767388 h 3767388"/>
              <a:gd name="T88" fmla="*/ 2911580 w 12191999"/>
              <a:gd name="T89" fmla="*/ 3073284 h 3767388"/>
              <a:gd name="T90" fmla="*/ 2508998 w 12191999"/>
              <a:gd name="T91" fmla="*/ 3767388 h 3767388"/>
              <a:gd name="T92" fmla="*/ 0 w 12191999"/>
              <a:gd name="T93" fmla="*/ 3767388 h 376738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2191999"/>
              <a:gd name="T142" fmla="*/ 0 h 3767388"/>
              <a:gd name="T143" fmla="*/ 12191999 w 12191999"/>
              <a:gd name="T144" fmla="*/ 3767388 h 376738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2191999" h="3767388">
                <a:moveTo>
                  <a:pt x="0" y="0"/>
                </a:moveTo>
                <a:lnTo>
                  <a:pt x="1801281" y="0"/>
                </a:lnTo>
                <a:lnTo>
                  <a:pt x="1431236" y="638878"/>
                </a:lnTo>
                <a:lnTo>
                  <a:pt x="2905722" y="638878"/>
                </a:lnTo>
                <a:lnTo>
                  <a:pt x="3275767" y="0"/>
                </a:lnTo>
                <a:lnTo>
                  <a:pt x="3969467" y="0"/>
                </a:lnTo>
                <a:lnTo>
                  <a:pt x="3968353" y="2680"/>
                </a:lnTo>
                <a:lnTo>
                  <a:pt x="3967876" y="2680"/>
                </a:lnTo>
                <a:lnTo>
                  <a:pt x="3597832" y="641558"/>
                </a:lnTo>
                <a:lnTo>
                  <a:pt x="5072316" y="641558"/>
                </a:lnTo>
                <a:lnTo>
                  <a:pt x="5073521" y="639479"/>
                </a:lnTo>
                <a:lnTo>
                  <a:pt x="5822782" y="639479"/>
                </a:lnTo>
                <a:lnTo>
                  <a:pt x="5452737" y="599"/>
                </a:lnTo>
                <a:lnTo>
                  <a:pt x="5439486" y="599"/>
                </a:lnTo>
                <a:lnTo>
                  <a:pt x="5439237" y="0"/>
                </a:lnTo>
                <a:lnTo>
                  <a:pt x="9033832" y="0"/>
                </a:lnTo>
                <a:lnTo>
                  <a:pt x="9034308" y="1067"/>
                </a:lnTo>
                <a:lnTo>
                  <a:pt x="9018031" y="1067"/>
                </a:lnTo>
                <a:lnTo>
                  <a:pt x="9420612" y="695171"/>
                </a:lnTo>
                <a:lnTo>
                  <a:pt x="9823192" y="1067"/>
                </a:lnTo>
                <a:lnTo>
                  <a:pt x="9802096" y="1067"/>
                </a:lnTo>
                <a:lnTo>
                  <a:pt x="9802572" y="0"/>
                </a:lnTo>
                <a:lnTo>
                  <a:pt x="12191999" y="0"/>
                </a:lnTo>
                <a:lnTo>
                  <a:pt x="12191999" y="3127156"/>
                </a:lnTo>
                <a:lnTo>
                  <a:pt x="8682646" y="3127156"/>
                </a:lnTo>
                <a:lnTo>
                  <a:pt x="8317116" y="2496845"/>
                </a:lnTo>
                <a:lnTo>
                  <a:pt x="7578808" y="2497238"/>
                </a:lnTo>
                <a:lnTo>
                  <a:pt x="7944110" y="3127156"/>
                </a:lnTo>
                <a:lnTo>
                  <a:pt x="6523523" y="3127156"/>
                </a:lnTo>
                <a:lnTo>
                  <a:pt x="6893568" y="3766035"/>
                </a:lnTo>
                <a:lnTo>
                  <a:pt x="6906039" y="3766035"/>
                </a:lnTo>
                <a:lnTo>
                  <a:pt x="6906039" y="3767388"/>
                </a:lnTo>
                <a:lnTo>
                  <a:pt x="6171171" y="3767388"/>
                </a:lnTo>
                <a:lnTo>
                  <a:pt x="5805034" y="3136032"/>
                </a:lnTo>
                <a:lnTo>
                  <a:pt x="5813781" y="3120932"/>
                </a:lnTo>
                <a:lnTo>
                  <a:pt x="5796279" y="3120932"/>
                </a:lnTo>
                <a:lnTo>
                  <a:pt x="5435842" y="2499405"/>
                </a:lnTo>
                <a:lnTo>
                  <a:pt x="4697534" y="2499798"/>
                </a:lnTo>
                <a:lnTo>
                  <a:pt x="5057742" y="3120932"/>
                </a:lnTo>
                <a:lnTo>
                  <a:pt x="4339295" y="3120932"/>
                </a:lnTo>
                <a:lnTo>
                  <a:pt x="3977091" y="3746277"/>
                </a:lnTo>
                <a:lnTo>
                  <a:pt x="3963972" y="3746277"/>
                </a:lnTo>
                <a:lnTo>
                  <a:pt x="3963972" y="3767388"/>
                </a:lnTo>
                <a:lnTo>
                  <a:pt x="3314160" y="3767388"/>
                </a:lnTo>
                <a:lnTo>
                  <a:pt x="2911580" y="3073284"/>
                </a:lnTo>
                <a:lnTo>
                  <a:pt x="2508998" y="3767388"/>
                </a:lnTo>
                <a:lnTo>
                  <a:pt x="0" y="3767388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7" name="任意多边形 3"/>
          <p:cNvSpPr>
            <a:spLocks noChangeArrowheads="1"/>
          </p:cNvSpPr>
          <p:nvPr/>
        </p:nvSpPr>
        <p:spPr bwMode="auto">
          <a:xfrm>
            <a:off x="-814230" y="3369737"/>
            <a:ext cx="10772461" cy="2721167"/>
          </a:xfrm>
          <a:custGeom>
            <a:avLst/>
            <a:gdLst>
              <a:gd name="T0" fmla="*/ 0 w 12191998"/>
              <a:gd name="T1" fmla="*/ 0 h 2310428"/>
              <a:gd name="T2" fmla="*/ 12191998 w 12191998"/>
              <a:gd name="T3" fmla="*/ 2310428 h 2310428"/>
            </a:gdLst>
            <a:ahLst/>
            <a:cxnLst/>
            <a:rect l="T0" t="T1" r="T2" b="T3"/>
            <a:pathLst>
              <a:path w="12191998" h="2310428">
                <a:moveTo>
                  <a:pt x="1310627" y="1710976"/>
                </a:moveTo>
                <a:lnTo>
                  <a:pt x="1658309" y="2310428"/>
                </a:lnTo>
                <a:lnTo>
                  <a:pt x="962945" y="2310428"/>
                </a:lnTo>
                <a:close/>
                <a:moveTo>
                  <a:pt x="3846550" y="1087363"/>
                </a:moveTo>
                <a:lnTo>
                  <a:pt x="3487641" y="1706185"/>
                </a:lnTo>
                <a:lnTo>
                  <a:pt x="3487642" y="1706186"/>
                </a:lnTo>
                <a:close/>
                <a:moveTo>
                  <a:pt x="2399459" y="1087363"/>
                </a:moveTo>
                <a:lnTo>
                  <a:pt x="2040619" y="1706053"/>
                </a:lnTo>
                <a:lnTo>
                  <a:pt x="2040619" y="1706054"/>
                </a:lnTo>
                <a:lnTo>
                  <a:pt x="2399460" y="1087363"/>
                </a:lnTo>
                <a:close/>
                <a:moveTo>
                  <a:pt x="1676068" y="1087363"/>
                </a:moveTo>
                <a:lnTo>
                  <a:pt x="1314370" y="1710976"/>
                </a:lnTo>
                <a:lnTo>
                  <a:pt x="1676069" y="1087363"/>
                </a:lnTo>
                <a:close/>
                <a:moveTo>
                  <a:pt x="952673" y="1087363"/>
                </a:moveTo>
                <a:lnTo>
                  <a:pt x="593157" y="1707218"/>
                </a:lnTo>
                <a:lnTo>
                  <a:pt x="593158" y="1707219"/>
                </a:lnTo>
                <a:close/>
                <a:moveTo>
                  <a:pt x="11441770" y="463882"/>
                </a:moveTo>
                <a:lnTo>
                  <a:pt x="11441769" y="463883"/>
                </a:lnTo>
                <a:lnTo>
                  <a:pt x="11574136" y="692102"/>
                </a:lnTo>
                <a:lnTo>
                  <a:pt x="11574137" y="692102"/>
                </a:lnTo>
                <a:close/>
                <a:moveTo>
                  <a:pt x="2037450" y="463749"/>
                </a:moveTo>
                <a:lnTo>
                  <a:pt x="1675756" y="1087362"/>
                </a:lnTo>
                <a:lnTo>
                  <a:pt x="2037451" y="463750"/>
                </a:lnTo>
                <a:close/>
                <a:moveTo>
                  <a:pt x="1314057" y="463749"/>
                </a:moveTo>
                <a:lnTo>
                  <a:pt x="952362" y="1087362"/>
                </a:lnTo>
                <a:lnTo>
                  <a:pt x="1314057" y="463750"/>
                </a:lnTo>
                <a:close/>
                <a:moveTo>
                  <a:pt x="590665" y="463749"/>
                </a:moveTo>
                <a:lnTo>
                  <a:pt x="228971" y="1087362"/>
                </a:lnTo>
                <a:lnTo>
                  <a:pt x="590665" y="463750"/>
                </a:lnTo>
                <a:close/>
                <a:moveTo>
                  <a:pt x="3030453" y="0"/>
                </a:moveTo>
                <a:lnTo>
                  <a:pt x="3753832" y="0"/>
                </a:lnTo>
                <a:lnTo>
                  <a:pt x="3484869" y="463747"/>
                </a:lnTo>
                <a:lnTo>
                  <a:pt x="3484870" y="463748"/>
                </a:lnTo>
                <a:lnTo>
                  <a:pt x="3484867" y="463748"/>
                </a:lnTo>
                <a:lnTo>
                  <a:pt x="2761478" y="463748"/>
                </a:lnTo>
                <a:close/>
                <a:moveTo>
                  <a:pt x="0" y="0"/>
                </a:moveTo>
                <a:lnTo>
                  <a:pt x="135936" y="0"/>
                </a:lnTo>
                <a:lnTo>
                  <a:pt x="859328" y="0"/>
                </a:lnTo>
                <a:lnTo>
                  <a:pt x="590353" y="463749"/>
                </a:lnTo>
                <a:lnTo>
                  <a:pt x="590354" y="463749"/>
                </a:lnTo>
                <a:lnTo>
                  <a:pt x="859328" y="0"/>
                </a:lnTo>
                <a:lnTo>
                  <a:pt x="1582721" y="0"/>
                </a:lnTo>
                <a:lnTo>
                  <a:pt x="1313744" y="463749"/>
                </a:lnTo>
                <a:lnTo>
                  <a:pt x="1313745" y="463749"/>
                </a:lnTo>
                <a:lnTo>
                  <a:pt x="1582722" y="0"/>
                </a:lnTo>
                <a:lnTo>
                  <a:pt x="2306112" y="0"/>
                </a:lnTo>
                <a:lnTo>
                  <a:pt x="2037139" y="463748"/>
                </a:lnTo>
                <a:lnTo>
                  <a:pt x="2037139" y="463749"/>
                </a:lnTo>
                <a:lnTo>
                  <a:pt x="2306114" y="0"/>
                </a:lnTo>
                <a:lnTo>
                  <a:pt x="3029504" y="0"/>
                </a:lnTo>
                <a:lnTo>
                  <a:pt x="2760529" y="463748"/>
                </a:lnTo>
                <a:lnTo>
                  <a:pt x="2760530" y="463749"/>
                </a:lnTo>
                <a:lnTo>
                  <a:pt x="2760842" y="463749"/>
                </a:lnTo>
                <a:lnTo>
                  <a:pt x="2399147" y="1087362"/>
                </a:lnTo>
                <a:lnTo>
                  <a:pt x="2399148" y="1087362"/>
                </a:lnTo>
                <a:lnTo>
                  <a:pt x="2760843" y="463750"/>
                </a:lnTo>
                <a:lnTo>
                  <a:pt x="2760842" y="463749"/>
                </a:lnTo>
                <a:lnTo>
                  <a:pt x="2760843" y="463749"/>
                </a:lnTo>
                <a:lnTo>
                  <a:pt x="3484234" y="463749"/>
                </a:lnTo>
                <a:lnTo>
                  <a:pt x="3122540" y="1087362"/>
                </a:lnTo>
                <a:lnTo>
                  <a:pt x="3122851" y="1087362"/>
                </a:lnTo>
                <a:lnTo>
                  <a:pt x="2761155" y="1710976"/>
                </a:lnTo>
                <a:lnTo>
                  <a:pt x="2761156" y="1710976"/>
                </a:lnTo>
                <a:lnTo>
                  <a:pt x="2761473" y="1710976"/>
                </a:lnTo>
                <a:lnTo>
                  <a:pt x="3123167" y="1087364"/>
                </a:lnTo>
                <a:lnTo>
                  <a:pt x="3123165" y="1087363"/>
                </a:lnTo>
                <a:lnTo>
                  <a:pt x="3123167" y="1087363"/>
                </a:lnTo>
                <a:lnTo>
                  <a:pt x="3123180" y="1087363"/>
                </a:lnTo>
                <a:lnTo>
                  <a:pt x="3484877" y="463750"/>
                </a:lnTo>
                <a:lnTo>
                  <a:pt x="3484877" y="463749"/>
                </a:lnTo>
                <a:lnTo>
                  <a:pt x="4208242" y="463749"/>
                </a:lnTo>
                <a:lnTo>
                  <a:pt x="4921529" y="463749"/>
                </a:lnTo>
                <a:lnTo>
                  <a:pt x="4921529" y="463748"/>
                </a:lnTo>
                <a:lnTo>
                  <a:pt x="4208242" y="463748"/>
                </a:lnTo>
                <a:lnTo>
                  <a:pt x="3484870" y="463748"/>
                </a:lnTo>
                <a:lnTo>
                  <a:pt x="3753832" y="0"/>
                </a:lnTo>
                <a:lnTo>
                  <a:pt x="5384960" y="0"/>
                </a:lnTo>
                <a:lnTo>
                  <a:pt x="5653933" y="463749"/>
                </a:lnTo>
                <a:lnTo>
                  <a:pt x="5655025" y="463749"/>
                </a:lnTo>
                <a:lnTo>
                  <a:pt x="6378414" y="463749"/>
                </a:lnTo>
                <a:lnTo>
                  <a:pt x="7101806" y="463749"/>
                </a:lnTo>
                <a:lnTo>
                  <a:pt x="7825198" y="463749"/>
                </a:lnTo>
                <a:lnTo>
                  <a:pt x="8548590" y="463749"/>
                </a:lnTo>
                <a:lnTo>
                  <a:pt x="9271982" y="463749"/>
                </a:lnTo>
                <a:lnTo>
                  <a:pt x="9995374" y="463749"/>
                </a:lnTo>
                <a:lnTo>
                  <a:pt x="10718455" y="463749"/>
                </a:lnTo>
                <a:lnTo>
                  <a:pt x="10718766" y="463749"/>
                </a:lnTo>
                <a:lnTo>
                  <a:pt x="11441380" y="463749"/>
                </a:lnTo>
                <a:lnTo>
                  <a:pt x="11441381" y="463748"/>
                </a:lnTo>
                <a:lnTo>
                  <a:pt x="10718766" y="463748"/>
                </a:lnTo>
                <a:lnTo>
                  <a:pt x="9995374" y="463748"/>
                </a:lnTo>
                <a:lnTo>
                  <a:pt x="9271982" y="463748"/>
                </a:lnTo>
                <a:lnTo>
                  <a:pt x="8548590" y="463748"/>
                </a:lnTo>
                <a:lnTo>
                  <a:pt x="7825198" y="463748"/>
                </a:lnTo>
                <a:lnTo>
                  <a:pt x="7101806" y="463748"/>
                </a:lnTo>
                <a:lnTo>
                  <a:pt x="6378414" y="463748"/>
                </a:lnTo>
                <a:lnTo>
                  <a:pt x="5655025" y="463748"/>
                </a:lnTo>
                <a:lnTo>
                  <a:pt x="5386052" y="0"/>
                </a:lnTo>
                <a:lnTo>
                  <a:pt x="12070553" y="0"/>
                </a:lnTo>
                <a:lnTo>
                  <a:pt x="12070553" y="626733"/>
                </a:lnTo>
                <a:lnTo>
                  <a:pt x="12032639" y="692102"/>
                </a:lnTo>
                <a:lnTo>
                  <a:pt x="12070553" y="626734"/>
                </a:lnTo>
                <a:lnTo>
                  <a:pt x="12070553" y="692102"/>
                </a:lnTo>
                <a:lnTo>
                  <a:pt x="12191998" y="692102"/>
                </a:lnTo>
                <a:lnTo>
                  <a:pt x="12191998" y="1702021"/>
                </a:lnTo>
                <a:lnTo>
                  <a:pt x="12070553" y="1702021"/>
                </a:lnTo>
                <a:lnTo>
                  <a:pt x="12070553" y="1710976"/>
                </a:lnTo>
                <a:lnTo>
                  <a:pt x="11442666" y="1710976"/>
                </a:lnTo>
                <a:lnTo>
                  <a:pt x="11566261" y="1497881"/>
                </a:lnTo>
                <a:lnTo>
                  <a:pt x="11566261" y="1497006"/>
                </a:lnTo>
                <a:lnTo>
                  <a:pt x="11442158" y="1710977"/>
                </a:lnTo>
                <a:lnTo>
                  <a:pt x="10718766" y="1710977"/>
                </a:lnTo>
                <a:lnTo>
                  <a:pt x="11080462" y="1087363"/>
                </a:lnTo>
                <a:lnTo>
                  <a:pt x="11566261" y="1087363"/>
                </a:lnTo>
                <a:lnTo>
                  <a:pt x="11566261" y="1087362"/>
                </a:lnTo>
                <a:lnTo>
                  <a:pt x="11080152" y="1087362"/>
                </a:lnTo>
                <a:lnTo>
                  <a:pt x="11080151" y="1087363"/>
                </a:lnTo>
                <a:lnTo>
                  <a:pt x="11080306" y="1087363"/>
                </a:lnTo>
                <a:lnTo>
                  <a:pt x="10718610" y="1710977"/>
                </a:lnTo>
                <a:lnTo>
                  <a:pt x="9995374" y="1710977"/>
                </a:lnTo>
                <a:lnTo>
                  <a:pt x="9995218" y="1710977"/>
                </a:lnTo>
                <a:lnTo>
                  <a:pt x="9271982" y="1710977"/>
                </a:lnTo>
                <a:lnTo>
                  <a:pt x="8548590" y="1710977"/>
                </a:lnTo>
                <a:lnTo>
                  <a:pt x="8186894" y="1087363"/>
                </a:lnTo>
                <a:lnTo>
                  <a:pt x="7463502" y="1087363"/>
                </a:lnTo>
                <a:lnTo>
                  <a:pt x="7451072" y="1087363"/>
                </a:lnTo>
                <a:lnTo>
                  <a:pt x="7450269" y="1088748"/>
                </a:lnTo>
                <a:lnTo>
                  <a:pt x="7811161" y="1710976"/>
                </a:lnTo>
                <a:lnTo>
                  <a:pt x="7101806" y="1710976"/>
                </a:lnTo>
                <a:lnTo>
                  <a:pt x="7101806" y="1710977"/>
                </a:lnTo>
                <a:lnTo>
                  <a:pt x="6385853" y="1710977"/>
                </a:lnTo>
                <a:lnTo>
                  <a:pt x="6733534" y="2310428"/>
                </a:lnTo>
                <a:lnTo>
                  <a:pt x="6002195" y="2310428"/>
                </a:lnTo>
                <a:lnTo>
                  <a:pt x="5654518" y="1710977"/>
                </a:lnTo>
                <a:lnTo>
                  <a:pt x="5655025" y="1710977"/>
                </a:lnTo>
                <a:lnTo>
                  <a:pt x="5293331" y="1087363"/>
                </a:lnTo>
                <a:lnTo>
                  <a:pt x="5284310" y="1071815"/>
                </a:lnTo>
                <a:lnTo>
                  <a:pt x="4578956" y="1071815"/>
                </a:lnTo>
                <a:lnTo>
                  <a:pt x="4569937" y="1087363"/>
                </a:lnTo>
                <a:lnTo>
                  <a:pt x="4931636" y="1710977"/>
                </a:lnTo>
                <a:lnTo>
                  <a:pt x="4208242" y="1710977"/>
                </a:lnTo>
                <a:lnTo>
                  <a:pt x="4207151" y="1710977"/>
                </a:lnTo>
                <a:lnTo>
                  <a:pt x="3859468" y="2310428"/>
                </a:lnTo>
                <a:lnTo>
                  <a:pt x="3107429" y="2310428"/>
                </a:lnTo>
                <a:lnTo>
                  <a:pt x="2759746" y="1710976"/>
                </a:lnTo>
                <a:lnTo>
                  <a:pt x="2759279" y="1710976"/>
                </a:lnTo>
                <a:lnTo>
                  <a:pt x="2411597" y="2310428"/>
                </a:lnTo>
                <a:lnTo>
                  <a:pt x="1659555" y="2310428"/>
                </a:lnTo>
                <a:lnTo>
                  <a:pt x="1311872" y="1710976"/>
                </a:lnTo>
                <a:lnTo>
                  <a:pt x="1310627" y="1710976"/>
                </a:lnTo>
                <a:lnTo>
                  <a:pt x="1310017" y="1710976"/>
                </a:lnTo>
                <a:lnTo>
                  <a:pt x="962334" y="2310428"/>
                </a:lnTo>
                <a:lnTo>
                  <a:pt x="0" y="2310428"/>
                </a:lnTo>
                <a:close/>
              </a:path>
            </a:pathLst>
          </a:custGeom>
          <a:gradFill rotWithShape="1">
            <a:gsLst>
              <a:gs pos="0">
                <a:srgbClr val="284482"/>
              </a:gs>
              <a:gs pos="29999">
                <a:srgbClr val="834F9B"/>
              </a:gs>
              <a:gs pos="64999">
                <a:srgbClr val="A4377B"/>
              </a:gs>
              <a:gs pos="92000">
                <a:srgbClr val="FD9A55"/>
              </a:gs>
              <a:gs pos="100000">
                <a:srgbClr val="FD9A55"/>
              </a:gs>
            </a:gsLst>
            <a:lin ang="19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grpSp>
        <p:nvGrpSpPr>
          <p:cNvPr id="8" name="组合 4"/>
          <p:cNvGrpSpPr/>
          <p:nvPr/>
        </p:nvGrpSpPr>
        <p:grpSpPr bwMode="auto">
          <a:xfrm>
            <a:off x="-826855" y="1104902"/>
            <a:ext cx="10797710" cy="4443639"/>
            <a:chOff x="0" y="0"/>
            <a:chExt cx="12221217" cy="3771775"/>
          </a:xfrm>
        </p:grpSpPr>
        <p:sp>
          <p:nvSpPr>
            <p:cNvPr id="9" name="直接连接符 5"/>
            <p:cNvSpPr>
              <a:spLocks noChangeShapeType="1"/>
            </p:cNvSpPr>
            <p:nvPr/>
          </p:nvSpPr>
          <p:spPr bwMode="auto">
            <a:xfrm flipH="1">
              <a:off x="14714" y="21634"/>
              <a:ext cx="346982" cy="62361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0" name="直接连接符 6"/>
            <p:cNvSpPr>
              <a:spLocks noChangeShapeType="1"/>
            </p:cNvSpPr>
            <p:nvPr/>
          </p:nvSpPr>
          <p:spPr bwMode="auto">
            <a:xfrm flipH="1">
              <a:off x="11680" y="35337"/>
              <a:ext cx="1043980" cy="184236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1" name="直接连接符 7"/>
            <p:cNvSpPr>
              <a:spLocks noChangeShapeType="1"/>
            </p:cNvSpPr>
            <p:nvPr/>
          </p:nvSpPr>
          <p:spPr bwMode="auto">
            <a:xfrm flipH="1">
              <a:off x="0" y="617551"/>
              <a:ext cx="1457700" cy="252215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2" name="直接连接符 8"/>
            <p:cNvSpPr>
              <a:spLocks noChangeShapeType="1"/>
            </p:cNvSpPr>
            <p:nvPr/>
          </p:nvSpPr>
          <p:spPr bwMode="auto">
            <a:xfrm flipH="1">
              <a:off x="361696" y="666875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3" name="直接连接符 9"/>
            <p:cNvSpPr>
              <a:spLocks noChangeShapeType="1"/>
            </p:cNvSpPr>
            <p:nvPr/>
          </p:nvSpPr>
          <p:spPr bwMode="auto">
            <a:xfrm flipH="1">
              <a:off x="1083668" y="66029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4" name="直接连接符 10"/>
            <p:cNvSpPr>
              <a:spLocks noChangeShapeType="1"/>
            </p:cNvSpPr>
            <p:nvPr/>
          </p:nvSpPr>
          <p:spPr bwMode="auto">
            <a:xfrm flipH="1">
              <a:off x="1818760" y="640514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5" name="直接连接符 11"/>
            <p:cNvSpPr>
              <a:spLocks noChangeShapeType="1"/>
            </p:cNvSpPr>
            <p:nvPr/>
          </p:nvSpPr>
          <p:spPr bwMode="auto">
            <a:xfrm flipH="1">
              <a:off x="2526557" y="66029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6" name="直接连接符 12"/>
            <p:cNvSpPr>
              <a:spLocks noChangeShapeType="1"/>
            </p:cNvSpPr>
            <p:nvPr/>
          </p:nvSpPr>
          <p:spPr bwMode="auto">
            <a:xfrm flipH="1">
              <a:off x="3248821" y="653705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7" name="直接连接符 13"/>
            <p:cNvSpPr>
              <a:spLocks noChangeShapeType="1"/>
            </p:cNvSpPr>
            <p:nvPr/>
          </p:nvSpPr>
          <p:spPr bwMode="auto">
            <a:xfrm flipH="1">
              <a:off x="3970924" y="21634"/>
              <a:ext cx="2181953" cy="375014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8" name="直接连接符 14"/>
            <p:cNvSpPr>
              <a:spLocks noChangeShapeType="1"/>
            </p:cNvSpPr>
            <p:nvPr/>
          </p:nvSpPr>
          <p:spPr bwMode="auto">
            <a:xfrm flipH="1">
              <a:off x="5793485" y="21631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19" name="直接连接符 15"/>
            <p:cNvSpPr>
              <a:spLocks noChangeShapeType="1"/>
            </p:cNvSpPr>
            <p:nvPr/>
          </p:nvSpPr>
          <p:spPr bwMode="auto">
            <a:xfrm flipH="1">
              <a:off x="5415416" y="21634"/>
              <a:ext cx="1460853" cy="247863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0" name="直接连接符 16"/>
            <p:cNvSpPr>
              <a:spLocks noChangeShapeType="1"/>
            </p:cNvSpPr>
            <p:nvPr/>
          </p:nvSpPr>
          <p:spPr bwMode="auto">
            <a:xfrm flipH="1">
              <a:off x="7596051" y="21631"/>
              <a:ext cx="1460853" cy="247863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1" name="直接连接符 17"/>
            <p:cNvSpPr>
              <a:spLocks noChangeShapeType="1"/>
            </p:cNvSpPr>
            <p:nvPr/>
          </p:nvSpPr>
          <p:spPr bwMode="auto">
            <a:xfrm flipH="1">
              <a:off x="6152369" y="0"/>
              <a:ext cx="2182979" cy="376331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2" name="直接连接符 18"/>
            <p:cNvSpPr>
              <a:spLocks noChangeShapeType="1"/>
            </p:cNvSpPr>
            <p:nvPr/>
          </p:nvSpPr>
          <p:spPr bwMode="auto">
            <a:xfrm flipH="1">
              <a:off x="8329510" y="645248"/>
              <a:ext cx="1078631" cy="184656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3" name="直接连接符 19"/>
            <p:cNvSpPr>
              <a:spLocks noChangeShapeType="1"/>
            </p:cNvSpPr>
            <p:nvPr/>
          </p:nvSpPr>
          <p:spPr bwMode="auto">
            <a:xfrm flipH="1">
              <a:off x="8684749" y="16397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4" name="直接连接符 20"/>
            <p:cNvSpPr>
              <a:spLocks noChangeShapeType="1"/>
            </p:cNvSpPr>
            <p:nvPr/>
          </p:nvSpPr>
          <p:spPr bwMode="auto">
            <a:xfrm flipH="1">
              <a:off x="9386666" y="36534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5" name="直接连接符 21"/>
            <p:cNvSpPr>
              <a:spLocks noChangeShapeType="1"/>
            </p:cNvSpPr>
            <p:nvPr/>
          </p:nvSpPr>
          <p:spPr bwMode="auto">
            <a:xfrm flipH="1">
              <a:off x="10119267" y="42651"/>
              <a:ext cx="1811285" cy="312330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6" name="直接连接符 22"/>
            <p:cNvSpPr>
              <a:spLocks noChangeShapeType="1"/>
            </p:cNvSpPr>
            <p:nvPr/>
          </p:nvSpPr>
          <p:spPr bwMode="auto">
            <a:xfrm flipH="1">
              <a:off x="10854925" y="808229"/>
              <a:ext cx="1351789" cy="2331476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7" name="直接连接符 23"/>
            <p:cNvSpPr>
              <a:spLocks noChangeShapeType="1"/>
            </p:cNvSpPr>
            <p:nvPr/>
          </p:nvSpPr>
          <p:spPr bwMode="auto">
            <a:xfrm flipH="1">
              <a:off x="11577226" y="2055458"/>
              <a:ext cx="629488" cy="109036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8" name="直接连接符 24"/>
            <p:cNvSpPr>
              <a:spLocks noChangeShapeType="1"/>
            </p:cNvSpPr>
            <p:nvPr/>
          </p:nvSpPr>
          <p:spPr bwMode="auto">
            <a:xfrm>
              <a:off x="8950" y="673460"/>
              <a:ext cx="1804931" cy="309644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29" name="直接连接符 25"/>
            <p:cNvSpPr>
              <a:spLocks noChangeShapeType="1"/>
            </p:cNvSpPr>
            <p:nvPr/>
          </p:nvSpPr>
          <p:spPr bwMode="auto">
            <a:xfrm>
              <a:off x="359997" y="16397"/>
              <a:ext cx="2173742" cy="374692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0" name="直接连接符 26"/>
            <p:cNvSpPr>
              <a:spLocks noChangeShapeType="1"/>
            </p:cNvSpPr>
            <p:nvPr/>
          </p:nvSpPr>
          <p:spPr bwMode="auto">
            <a:xfrm>
              <a:off x="15563" y="1884290"/>
              <a:ext cx="1069525" cy="1879028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1" name="直接连接符 27"/>
            <p:cNvSpPr>
              <a:spLocks noChangeShapeType="1"/>
            </p:cNvSpPr>
            <p:nvPr/>
          </p:nvSpPr>
          <p:spPr bwMode="auto">
            <a:xfrm>
              <a:off x="8727" y="3152874"/>
              <a:ext cx="352969" cy="61044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2" name="直接连接符 28"/>
            <p:cNvSpPr>
              <a:spLocks noChangeShapeType="1"/>
            </p:cNvSpPr>
            <p:nvPr/>
          </p:nvSpPr>
          <p:spPr bwMode="auto">
            <a:xfrm>
              <a:off x="1083118" y="35337"/>
              <a:ext cx="2192022" cy="370162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3" name="直接连接符 29"/>
            <p:cNvSpPr>
              <a:spLocks noChangeShapeType="1"/>
            </p:cNvSpPr>
            <p:nvPr/>
          </p:nvSpPr>
          <p:spPr bwMode="auto">
            <a:xfrm>
              <a:off x="2176399" y="626804"/>
              <a:ext cx="1805213" cy="313651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4" name="直接连接符 30"/>
            <p:cNvSpPr>
              <a:spLocks noChangeShapeType="1"/>
            </p:cNvSpPr>
            <p:nvPr/>
          </p:nvSpPr>
          <p:spPr bwMode="auto">
            <a:xfrm>
              <a:off x="2885877" y="64712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5" name="直接连接符 31"/>
            <p:cNvSpPr>
              <a:spLocks noChangeShapeType="1"/>
            </p:cNvSpPr>
            <p:nvPr/>
          </p:nvSpPr>
          <p:spPr bwMode="auto">
            <a:xfrm>
              <a:off x="3250295" y="18573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6" name="直接连接符 32"/>
            <p:cNvSpPr>
              <a:spLocks noChangeShapeType="1"/>
            </p:cNvSpPr>
            <p:nvPr/>
          </p:nvSpPr>
          <p:spPr bwMode="auto">
            <a:xfrm>
              <a:off x="4330415" y="64958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7" name="直接连接符 33"/>
            <p:cNvSpPr>
              <a:spLocks noChangeShapeType="1"/>
            </p:cNvSpPr>
            <p:nvPr/>
          </p:nvSpPr>
          <p:spPr bwMode="auto">
            <a:xfrm>
              <a:off x="5064905" y="655139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8" name="直接连接符 34"/>
            <p:cNvSpPr>
              <a:spLocks noChangeShapeType="1"/>
            </p:cNvSpPr>
            <p:nvPr/>
          </p:nvSpPr>
          <p:spPr bwMode="auto">
            <a:xfrm>
              <a:off x="5787383" y="649580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39" name="直接连接符 35"/>
            <p:cNvSpPr>
              <a:spLocks noChangeShapeType="1"/>
            </p:cNvSpPr>
            <p:nvPr/>
          </p:nvSpPr>
          <p:spPr bwMode="auto">
            <a:xfrm>
              <a:off x="6165450" y="42651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0" name="直接连接符 36"/>
            <p:cNvSpPr>
              <a:spLocks noChangeShapeType="1"/>
            </p:cNvSpPr>
            <p:nvPr/>
          </p:nvSpPr>
          <p:spPr bwMode="auto">
            <a:xfrm>
              <a:off x="6875255" y="51087"/>
              <a:ext cx="1457431" cy="249258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1" name="直接连接符 37"/>
            <p:cNvSpPr>
              <a:spLocks noChangeShapeType="1"/>
            </p:cNvSpPr>
            <p:nvPr/>
          </p:nvSpPr>
          <p:spPr bwMode="auto">
            <a:xfrm>
              <a:off x="7610427" y="16396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2" name="直接连接符 38"/>
            <p:cNvSpPr>
              <a:spLocks noChangeShapeType="1"/>
            </p:cNvSpPr>
            <p:nvPr/>
          </p:nvSpPr>
          <p:spPr bwMode="auto">
            <a:xfrm>
              <a:off x="8306211" y="9633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3" name="直接连接符 39"/>
            <p:cNvSpPr>
              <a:spLocks noChangeShapeType="1"/>
            </p:cNvSpPr>
            <p:nvPr/>
          </p:nvSpPr>
          <p:spPr bwMode="auto">
            <a:xfrm>
              <a:off x="9782678" y="29523"/>
              <a:ext cx="1797714" cy="312330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4" name="直接连接符 40"/>
            <p:cNvSpPr>
              <a:spLocks noChangeShapeType="1"/>
            </p:cNvSpPr>
            <p:nvPr/>
          </p:nvSpPr>
          <p:spPr bwMode="auto">
            <a:xfrm>
              <a:off x="9418935" y="660026"/>
              <a:ext cx="1435990" cy="2479679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5" name="直接连接符 41"/>
            <p:cNvSpPr>
              <a:spLocks noChangeShapeType="1"/>
            </p:cNvSpPr>
            <p:nvPr/>
          </p:nvSpPr>
          <p:spPr bwMode="auto">
            <a:xfrm>
              <a:off x="10514008" y="43422"/>
              <a:ext cx="1692705" cy="293162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6" name="直接连接符 42"/>
            <p:cNvSpPr>
              <a:spLocks noChangeShapeType="1"/>
            </p:cNvSpPr>
            <p:nvPr/>
          </p:nvSpPr>
          <p:spPr bwMode="auto">
            <a:xfrm>
              <a:off x="11221042" y="36411"/>
              <a:ext cx="985671" cy="169362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7" name="直接连接符 43"/>
            <p:cNvSpPr>
              <a:spLocks noChangeShapeType="1"/>
            </p:cNvSpPr>
            <p:nvPr/>
          </p:nvSpPr>
          <p:spPr bwMode="auto">
            <a:xfrm>
              <a:off x="11958130" y="30295"/>
              <a:ext cx="248583" cy="452507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8" name="直接连接符 44"/>
            <p:cNvSpPr>
              <a:spLocks noChangeShapeType="1"/>
            </p:cNvSpPr>
            <p:nvPr/>
          </p:nvSpPr>
          <p:spPr bwMode="auto">
            <a:xfrm flipV="1">
              <a:off x="2956" y="645247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49" name="直接连接符 45"/>
            <p:cNvSpPr>
              <a:spLocks noChangeShapeType="1"/>
            </p:cNvSpPr>
            <p:nvPr/>
          </p:nvSpPr>
          <p:spPr bwMode="auto">
            <a:xfrm flipV="1">
              <a:off x="11680" y="1261397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0" name="直接连接符 46"/>
            <p:cNvSpPr>
              <a:spLocks noChangeShapeType="1"/>
            </p:cNvSpPr>
            <p:nvPr/>
          </p:nvSpPr>
          <p:spPr bwMode="auto">
            <a:xfrm>
              <a:off x="63571" y="1891776"/>
              <a:ext cx="12143142" cy="700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1" name="直接连接符 47"/>
            <p:cNvSpPr>
              <a:spLocks noChangeShapeType="1"/>
            </p:cNvSpPr>
            <p:nvPr/>
          </p:nvSpPr>
          <p:spPr bwMode="auto">
            <a:xfrm flipV="1">
              <a:off x="17459" y="2507888"/>
              <a:ext cx="12203758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2" name="直接连接符 48"/>
            <p:cNvSpPr>
              <a:spLocks noChangeShapeType="1"/>
            </p:cNvSpPr>
            <p:nvPr/>
          </p:nvSpPr>
          <p:spPr bwMode="auto">
            <a:xfrm>
              <a:off x="0" y="3139704"/>
              <a:ext cx="5067789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3" name="直接连接符 49"/>
            <p:cNvSpPr>
              <a:spLocks noChangeShapeType="1"/>
            </p:cNvSpPr>
            <p:nvPr/>
          </p:nvSpPr>
          <p:spPr bwMode="auto">
            <a:xfrm flipV="1">
              <a:off x="8684749" y="3132981"/>
              <a:ext cx="3530192" cy="6724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  <p:sp>
          <p:nvSpPr>
            <p:cNvPr id="54" name="直接连接符 50"/>
            <p:cNvSpPr>
              <a:spLocks noChangeShapeType="1"/>
            </p:cNvSpPr>
            <p:nvPr/>
          </p:nvSpPr>
          <p:spPr bwMode="auto">
            <a:xfrm flipV="1">
              <a:off x="5790673" y="3139704"/>
              <a:ext cx="2156647" cy="1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8650" y="2691358"/>
            <a:ext cx="7886700" cy="1392772"/>
          </a:xfrm>
        </p:spPr>
        <p:txBody>
          <a:bodyPr>
            <a:normAutofit/>
          </a:bodyPr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编辑标题</a:t>
            </a:r>
            <a:endParaRPr lang="zh-CN" altLang="en-US" dirty="0"/>
          </a:p>
        </p:txBody>
      </p:sp>
    </p:spTree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391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5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6A6E7ED4-A6DB-42FA-A45A-9B557E5FB140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" name="矩形 112"/>
          <p:cNvSpPr>
            <a:spLocks noChangeArrowheads="1"/>
          </p:cNvSpPr>
          <p:nvPr/>
        </p:nvSpPr>
        <p:spPr bwMode="auto">
          <a:xfrm>
            <a:off x="0" y="4764"/>
            <a:ext cx="9163050" cy="619125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anchor="ctr"/>
          <a:lstStyle/>
          <a:p>
            <a:pPr algn="ctr"/>
            <a:endParaRPr lang="zh-CN" altLang="zh-CN" sz="180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7" name="组合 1"/>
          <p:cNvGrpSpPr/>
          <p:nvPr/>
        </p:nvGrpSpPr>
        <p:grpSpPr bwMode="auto">
          <a:xfrm>
            <a:off x="0" y="-34925"/>
            <a:ext cx="8934450" cy="676275"/>
            <a:chOff x="0" y="0"/>
            <a:chExt cx="11911428" cy="675373"/>
          </a:xfrm>
        </p:grpSpPr>
        <p:sp>
          <p:nvSpPr>
            <p:cNvPr id="8" name="直接连接符 77"/>
            <p:cNvSpPr>
              <a:spLocks noChangeShapeType="1"/>
            </p:cNvSpPr>
            <p:nvPr/>
          </p:nvSpPr>
          <p:spPr bwMode="auto">
            <a:xfrm flipH="1">
              <a:off x="0" y="26641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9" name="直接连接符 78"/>
            <p:cNvSpPr>
              <a:spLocks noChangeShapeType="1"/>
            </p:cNvSpPr>
            <p:nvPr/>
          </p:nvSpPr>
          <p:spPr bwMode="auto">
            <a:xfrm flipH="1">
              <a:off x="696389" y="5176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0" name="直接连接符 79"/>
            <p:cNvSpPr>
              <a:spLocks noChangeShapeType="1"/>
            </p:cNvSpPr>
            <p:nvPr/>
          </p:nvSpPr>
          <p:spPr bwMode="auto">
            <a:xfrm flipH="1">
              <a:off x="1432442" y="51759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1" name="直接连接符 80"/>
            <p:cNvSpPr>
              <a:spLocks noChangeShapeType="1"/>
            </p:cNvSpPr>
            <p:nvPr/>
          </p:nvSpPr>
          <p:spPr bwMode="auto">
            <a:xfrm flipH="1">
              <a:off x="2155886" y="35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2" name="直接连接符 81"/>
            <p:cNvSpPr>
              <a:spLocks noChangeShapeType="1"/>
            </p:cNvSpPr>
            <p:nvPr/>
          </p:nvSpPr>
          <p:spPr bwMode="auto">
            <a:xfrm flipH="1">
              <a:off x="2907163" y="4483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3" name="直接连接符 82"/>
            <p:cNvSpPr>
              <a:spLocks noChangeShapeType="1"/>
            </p:cNvSpPr>
            <p:nvPr/>
          </p:nvSpPr>
          <p:spPr bwMode="auto">
            <a:xfrm flipH="1">
              <a:off x="3603365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4" name="直接连接符 83"/>
            <p:cNvSpPr>
              <a:spLocks noChangeShapeType="1"/>
            </p:cNvSpPr>
            <p:nvPr/>
          </p:nvSpPr>
          <p:spPr bwMode="auto">
            <a:xfrm flipH="1">
              <a:off x="4352340" y="18849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" name="直接连接符 84"/>
            <p:cNvSpPr>
              <a:spLocks noChangeShapeType="1"/>
            </p:cNvSpPr>
            <p:nvPr/>
          </p:nvSpPr>
          <p:spPr bwMode="auto">
            <a:xfrm flipH="1">
              <a:off x="5074249" y="41255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" name="直接连接符 85"/>
            <p:cNvSpPr>
              <a:spLocks noChangeShapeType="1"/>
            </p:cNvSpPr>
            <p:nvPr/>
          </p:nvSpPr>
          <p:spPr bwMode="auto">
            <a:xfrm flipH="1">
              <a:off x="5797400" y="765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7" name="直接连接符 86"/>
            <p:cNvSpPr>
              <a:spLocks noChangeShapeType="1"/>
            </p:cNvSpPr>
            <p:nvPr/>
          </p:nvSpPr>
          <p:spPr bwMode="auto">
            <a:xfrm flipH="1">
              <a:off x="6493602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8" name="直接连接符 87"/>
            <p:cNvSpPr>
              <a:spLocks noChangeShapeType="1"/>
            </p:cNvSpPr>
            <p:nvPr/>
          </p:nvSpPr>
          <p:spPr bwMode="auto">
            <a:xfrm flipH="1">
              <a:off x="7241522" y="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9" name="直接连接符 88"/>
            <p:cNvSpPr>
              <a:spLocks noChangeShapeType="1"/>
            </p:cNvSpPr>
            <p:nvPr/>
          </p:nvSpPr>
          <p:spPr bwMode="auto">
            <a:xfrm flipH="1">
              <a:off x="7949420" y="35506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0" name="直接连接符 89"/>
            <p:cNvSpPr>
              <a:spLocks noChangeShapeType="1"/>
            </p:cNvSpPr>
            <p:nvPr/>
          </p:nvSpPr>
          <p:spPr bwMode="auto">
            <a:xfrm flipH="1">
              <a:off x="8671824" y="43026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1" name="直接连接符 90"/>
            <p:cNvSpPr>
              <a:spLocks noChangeShapeType="1"/>
            </p:cNvSpPr>
            <p:nvPr/>
          </p:nvSpPr>
          <p:spPr bwMode="auto">
            <a:xfrm flipH="1">
              <a:off x="9407901" y="2664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2" name="直接连接符 91"/>
            <p:cNvSpPr>
              <a:spLocks noChangeShapeType="1"/>
            </p:cNvSpPr>
            <p:nvPr/>
          </p:nvSpPr>
          <p:spPr bwMode="auto">
            <a:xfrm flipH="1">
              <a:off x="10116200" y="3416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3" name="直接连接符 92"/>
            <p:cNvSpPr>
              <a:spLocks noChangeShapeType="1"/>
            </p:cNvSpPr>
            <p:nvPr/>
          </p:nvSpPr>
          <p:spPr bwMode="auto">
            <a:xfrm flipH="1">
              <a:off x="10824499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4" name="直接连接符 93"/>
            <p:cNvSpPr>
              <a:spLocks noChangeShapeType="1"/>
            </p:cNvSpPr>
            <p:nvPr/>
          </p:nvSpPr>
          <p:spPr bwMode="auto">
            <a:xfrm flipH="1">
              <a:off x="11562162" y="209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5" name="组合 94"/>
          <p:cNvGrpSpPr/>
          <p:nvPr/>
        </p:nvGrpSpPr>
        <p:grpSpPr bwMode="auto">
          <a:xfrm flipH="1">
            <a:off x="253604" y="-41275"/>
            <a:ext cx="8933259" cy="676275"/>
            <a:chOff x="0" y="0"/>
            <a:chExt cx="11911428" cy="675373"/>
          </a:xfrm>
        </p:grpSpPr>
        <p:sp>
          <p:nvSpPr>
            <p:cNvPr id="26" name="直接连接符 95"/>
            <p:cNvSpPr>
              <a:spLocks noChangeShapeType="1"/>
            </p:cNvSpPr>
            <p:nvPr/>
          </p:nvSpPr>
          <p:spPr bwMode="auto">
            <a:xfrm flipH="1">
              <a:off x="0" y="26641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7" name="直接连接符 96"/>
            <p:cNvSpPr>
              <a:spLocks noChangeShapeType="1"/>
            </p:cNvSpPr>
            <p:nvPr/>
          </p:nvSpPr>
          <p:spPr bwMode="auto">
            <a:xfrm flipH="1">
              <a:off x="696389" y="5176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8" name="直接连接符 97"/>
            <p:cNvSpPr>
              <a:spLocks noChangeShapeType="1"/>
            </p:cNvSpPr>
            <p:nvPr/>
          </p:nvSpPr>
          <p:spPr bwMode="auto">
            <a:xfrm flipH="1">
              <a:off x="1432442" y="51759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9" name="直接连接符 98"/>
            <p:cNvSpPr>
              <a:spLocks noChangeShapeType="1"/>
            </p:cNvSpPr>
            <p:nvPr/>
          </p:nvSpPr>
          <p:spPr bwMode="auto">
            <a:xfrm flipH="1">
              <a:off x="2155886" y="35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0" name="直接连接符 99"/>
            <p:cNvSpPr>
              <a:spLocks noChangeShapeType="1"/>
            </p:cNvSpPr>
            <p:nvPr/>
          </p:nvSpPr>
          <p:spPr bwMode="auto">
            <a:xfrm flipH="1">
              <a:off x="2907163" y="4483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1" name="直接连接符 100"/>
            <p:cNvSpPr>
              <a:spLocks noChangeShapeType="1"/>
            </p:cNvSpPr>
            <p:nvPr/>
          </p:nvSpPr>
          <p:spPr bwMode="auto">
            <a:xfrm flipH="1">
              <a:off x="3603365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2" name="直接连接符 101"/>
            <p:cNvSpPr>
              <a:spLocks noChangeShapeType="1"/>
            </p:cNvSpPr>
            <p:nvPr/>
          </p:nvSpPr>
          <p:spPr bwMode="auto">
            <a:xfrm flipH="1">
              <a:off x="4352340" y="18849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3" name="直接连接符 102"/>
            <p:cNvSpPr>
              <a:spLocks noChangeShapeType="1"/>
            </p:cNvSpPr>
            <p:nvPr/>
          </p:nvSpPr>
          <p:spPr bwMode="auto">
            <a:xfrm flipH="1">
              <a:off x="5074249" y="41255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4" name="直接连接符 103"/>
            <p:cNvSpPr>
              <a:spLocks noChangeShapeType="1"/>
            </p:cNvSpPr>
            <p:nvPr/>
          </p:nvSpPr>
          <p:spPr bwMode="auto">
            <a:xfrm flipH="1">
              <a:off x="5797400" y="765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5" name="直接连接符 104"/>
            <p:cNvSpPr>
              <a:spLocks noChangeShapeType="1"/>
            </p:cNvSpPr>
            <p:nvPr/>
          </p:nvSpPr>
          <p:spPr bwMode="auto">
            <a:xfrm flipH="1">
              <a:off x="6493602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6" name="直接连接符 105"/>
            <p:cNvSpPr>
              <a:spLocks noChangeShapeType="1"/>
            </p:cNvSpPr>
            <p:nvPr/>
          </p:nvSpPr>
          <p:spPr bwMode="auto">
            <a:xfrm flipH="1">
              <a:off x="7241522" y="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7" name="直接连接符 106"/>
            <p:cNvSpPr>
              <a:spLocks noChangeShapeType="1"/>
            </p:cNvSpPr>
            <p:nvPr/>
          </p:nvSpPr>
          <p:spPr bwMode="auto">
            <a:xfrm flipH="1">
              <a:off x="7949420" y="35506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8" name="直接连接符 107"/>
            <p:cNvSpPr>
              <a:spLocks noChangeShapeType="1"/>
            </p:cNvSpPr>
            <p:nvPr/>
          </p:nvSpPr>
          <p:spPr bwMode="auto">
            <a:xfrm flipH="1">
              <a:off x="8671824" y="43026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9" name="直接连接符 108"/>
            <p:cNvSpPr>
              <a:spLocks noChangeShapeType="1"/>
            </p:cNvSpPr>
            <p:nvPr/>
          </p:nvSpPr>
          <p:spPr bwMode="auto">
            <a:xfrm flipH="1">
              <a:off x="9407901" y="2664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0" name="直接连接符 109"/>
            <p:cNvSpPr>
              <a:spLocks noChangeShapeType="1"/>
            </p:cNvSpPr>
            <p:nvPr/>
          </p:nvSpPr>
          <p:spPr bwMode="auto">
            <a:xfrm flipH="1">
              <a:off x="10116200" y="34160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" name="直接连接符 110"/>
            <p:cNvSpPr>
              <a:spLocks noChangeShapeType="1"/>
            </p:cNvSpPr>
            <p:nvPr/>
          </p:nvSpPr>
          <p:spPr bwMode="auto">
            <a:xfrm flipH="1">
              <a:off x="10824499" y="385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2" name="直接连接符 111"/>
            <p:cNvSpPr>
              <a:spLocks noChangeShapeType="1"/>
            </p:cNvSpPr>
            <p:nvPr/>
          </p:nvSpPr>
          <p:spPr bwMode="auto">
            <a:xfrm flipH="1">
              <a:off x="11562162" y="20907"/>
              <a:ext cx="349266" cy="623613"/>
            </a:xfrm>
            <a:prstGeom prst="line">
              <a:avLst/>
            </a:prstGeom>
            <a:noFill/>
            <a:ln w="6350" cap="flat" cmpd="sng">
              <a:solidFill>
                <a:srgbClr val="FFFFFF">
                  <a:alpha val="39999"/>
                </a:srgbClr>
              </a:solidFill>
              <a:beve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800"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9841" y="711200"/>
            <a:ext cx="3196800" cy="1600200"/>
          </a:xfrm>
        </p:spPr>
        <p:txBody>
          <a:bodyPr anchor="t" anchorCtr="0">
            <a:no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014391" y="733425"/>
            <a:ext cx="4478400" cy="54036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311400"/>
            <a:ext cx="3196800" cy="381158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2F5ED-D19D-4097-92A9-D6092B3D6E68}" type="datetimeFigureOut">
              <a:rPr lang="zh-CN" altLang="en-US" smtClean="0"/>
              <a:t>2017/9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AEAA2-D029-4D23-B6D5-DE004B8B3ED2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572375" y="365125"/>
            <a:ext cx="942975" cy="5811838"/>
          </a:xfrm>
        </p:spPr>
        <p:txBody>
          <a:bodyPr vert="eaVert">
            <a:normAutofit/>
          </a:bodyPr>
          <a:lstStyle>
            <a:lvl1pPr>
              <a:defRPr sz="27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628650" y="365125"/>
            <a:ext cx="6843713" cy="5811838"/>
          </a:xfrm>
        </p:spPr>
        <p:txBody>
          <a:bodyPr vert="eaVert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/>
              <a:t>编辑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>
            <a:lvl1pPr>
              <a:defRPr sz="1200"/>
            </a:lvl1pPr>
          </a:lstStyle>
          <a:p>
            <a:fld id="{98B535D4-E014-4228-827E-D87C7873FD82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22097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454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 noChangeArrowheads="1"/>
          </p:cNvSpPr>
          <p:nvPr>
            <p:ph type="title" idx="4294967295"/>
            <p:custDataLst>
              <p:tags r:id="rId14"/>
            </p:custDataLst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lvl="0"/>
            <a:r>
              <a:rPr lang="zh-CN" altLang="zh-CN">
                <a:sym typeface="Calibri Light" panose="020F0302020204030204" pitchFamily="34" charset="0"/>
              </a:rPr>
              <a:t>单击此处编辑母版标题样式</a:t>
            </a:r>
          </a:p>
        </p:txBody>
      </p:sp>
      <p:sp>
        <p:nvSpPr>
          <p:cNvPr id="1027" name="文本占位符 2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lvl="0"/>
            <a:r>
              <a:rPr lang="zh-CN" altLang="en-US" dirty="0" smtClean="0">
                <a:sym typeface="Calibri" panose="020F0502020204030204" charset="0"/>
              </a:rPr>
              <a:t>单击此处编辑母版文本样式</a:t>
            </a:r>
          </a:p>
          <a:p>
            <a:pPr lvl="1"/>
            <a:r>
              <a:rPr lang="zh-CN" altLang="zh-CN" dirty="0" smtClean="0">
                <a:sym typeface="Calibri" panose="020F0502020204030204" charset="0"/>
              </a:rPr>
              <a:t>第二</a:t>
            </a:r>
            <a:r>
              <a:rPr lang="zh-CN" altLang="zh-CN" dirty="0">
                <a:sym typeface="Calibri" panose="020F0502020204030204" charset="0"/>
              </a:rPr>
              <a:t>级</a:t>
            </a:r>
          </a:p>
          <a:p>
            <a:pPr lvl="2"/>
            <a:r>
              <a:rPr lang="zh-CN" altLang="zh-CN" dirty="0">
                <a:sym typeface="Calibri" panose="020F0502020204030204" charset="0"/>
              </a:rPr>
              <a:t>第三级</a:t>
            </a:r>
          </a:p>
          <a:p>
            <a:pPr lvl="3"/>
            <a:r>
              <a:rPr lang="zh-CN" altLang="zh-CN" dirty="0">
                <a:sym typeface="Calibri" panose="020F0502020204030204" charset="0"/>
              </a:rPr>
              <a:t>第四级</a:t>
            </a:r>
          </a:p>
          <a:p>
            <a:pPr lvl="4"/>
            <a:r>
              <a:rPr lang="zh-CN" altLang="zh-CN" dirty="0">
                <a:sym typeface="Calibri" panose="020F0502020204030204" charset="0"/>
              </a:rPr>
              <a:t>第五级</a:t>
            </a:r>
          </a:p>
        </p:txBody>
      </p:sp>
      <p:sp>
        <p:nvSpPr>
          <p:cNvPr id="1028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zh-CN" altLang="zh-CN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98B535D4-E014-4228-827E-D87C7873FD82}" type="slidenum">
              <a:rPr lang="zh-CN" altLang="en-US" smtClean="0"/>
              <a:t>‹#›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KSO_TEMPLATE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/>
  <p:txStyles>
    <p:titleStyle>
      <a:lvl1pPr marL="6858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  <a:sym typeface="Calibri Light" panose="020F0302020204030204" pitchFamily="34" charset="0"/>
        </a:defRPr>
      </a:lvl1pPr>
      <a:lvl2pPr marL="6858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2pPr>
      <a:lvl3pPr marL="6858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3pPr>
      <a:lvl4pPr marL="6858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4pPr>
      <a:lvl5pPr marL="6858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5pPr>
      <a:lvl6pPr marL="10287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6pPr>
      <a:lvl7pPr marL="13716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7pPr>
      <a:lvl8pPr marL="17145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8pPr>
      <a:lvl9pPr marL="2057400" indent="-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  <a:sym typeface="Calibri Light" panose="020F0302020204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charset="0"/>
        </a:defRPr>
      </a:lvl1pPr>
      <a:lvl2pPr marL="5143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charset="0"/>
        </a:defRPr>
      </a:lvl2pPr>
      <a:lvl3pPr marL="8572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charset="0"/>
        </a:defRPr>
      </a:lvl3pPr>
      <a:lvl4pPr marL="12001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charset="0"/>
        </a:defRPr>
      </a:lvl4pPr>
      <a:lvl5pPr marL="15430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toyhouse.cc/wiki/index.php/2017%E7%BA%A7%E5%B7%A5%E7%A8%8B%E7%AE%A1%E7%90%86%E7%A1%95%E5%A3%AB%EF%BC%88MEM%EF%BC%89%E7%AC%AC%E4%BA%8C%E6%89%B9%E6%AC%A1%E5%85%A5%E5%AD%A6%E5%AF%BC%E5%BC%95%E8%AF%BE-6%E7%BB%84%E4%B8%AA%E4%BA%BA%E5%AD%A6%E4%B9%A0%E6%8A%A5%E5%91%8A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slideLayout" Target="../slideLayouts/slideLayout7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oleObject" Target="../embeddings/oleObject4.bin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oleObject" Target="../embeddings/oleObject3.bin"/><Relationship Id="rId45" Type="http://schemas.openxmlformats.org/officeDocument/2006/relationships/image" Target="../media/image15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oleObject" Target="../embeddings/oleObject5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3" name="文本框 24"/>
          <p:cNvSpPr>
            <a:spLocks noChangeArrowheads="1"/>
          </p:cNvSpPr>
          <p:nvPr/>
        </p:nvSpPr>
        <p:spPr bwMode="auto">
          <a:xfrm>
            <a:off x="585216" y="5374910"/>
            <a:ext cx="7862258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none" lIns="90000" tIns="46800" rIns="90000" bIns="46800">
            <a:noAutofit/>
          </a:bodyPr>
          <a:lstStyle/>
          <a:p>
            <a:r>
              <a:rPr lang="en-US" sz="4800" dirty="0">
                <a:solidFill>
                  <a:srgbClr val="202731"/>
                </a:solidFill>
                <a:latin typeface="+mn-lt"/>
                <a:ea typeface="+mn-ea"/>
                <a:cs typeface="+mn-ea"/>
                <a:sym typeface="+mn-lt"/>
              </a:rPr>
              <a:t>2017.9.15</a:t>
            </a:r>
            <a:endParaRPr lang="en-US" sz="4400" dirty="0">
              <a:solidFill>
                <a:srgbClr val="6F60A8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124" name="文本框 25"/>
          <p:cNvSpPr>
            <a:spLocks noChangeArrowheads="1"/>
          </p:cNvSpPr>
          <p:nvPr/>
        </p:nvSpPr>
        <p:spPr bwMode="auto">
          <a:xfrm>
            <a:off x="1064895" y="1628775"/>
            <a:ext cx="7193280" cy="784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none" lIns="90000" tIns="46800" rIns="90000" bIns="46800">
            <a:no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2017</a:t>
            </a:r>
            <a:r>
              <a:rPr lang="zh-CN" altLang="en-US" sz="5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年</a:t>
            </a:r>
            <a:r>
              <a:rPr lang="en-US" altLang="zh-CN" sz="5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MEM</a:t>
            </a:r>
            <a:r>
              <a:rPr lang="zh-CN" altLang="en-US" sz="5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入学导引课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66875" y="2537460"/>
            <a:ext cx="6146800" cy="589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XLP </a:t>
            </a:r>
            <a:r>
              <a:rPr lang="zh-CN" altLang="en-US" sz="3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第六组 晨间汇报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文本框 96"/>
          <p:cNvSpPr>
            <a:spLocks noChangeArrowheads="1"/>
          </p:cNvSpPr>
          <p:nvPr/>
        </p:nvSpPr>
        <p:spPr bwMode="auto">
          <a:xfrm>
            <a:off x="1123949" y="1695450"/>
            <a:ext cx="3645645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/>
          <a:p>
            <a:r>
              <a:rPr lang="zh-CN" altLang="en-US" sz="4000" dirty="0">
                <a:solidFill>
                  <a:srgbClr val="6C5B7B"/>
                </a:solidFill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晨间汇报要点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5210810" y="2146300"/>
            <a:ext cx="3630927" cy="2687319"/>
            <a:chOff x="5654279" y="2128838"/>
            <a:chExt cx="3321504" cy="2908336"/>
          </a:xfrm>
        </p:grpSpPr>
        <p:sp>
          <p:nvSpPr>
            <p:cNvPr id="4101" name="等腰三角形 2"/>
            <p:cNvSpPr>
              <a:spLocks noChangeArrowheads="1"/>
            </p:cNvSpPr>
            <p:nvPr/>
          </p:nvSpPr>
          <p:spPr bwMode="auto">
            <a:xfrm flipV="1">
              <a:off x="5654279" y="2177654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422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07" name="等腰三角形 79"/>
            <p:cNvSpPr>
              <a:spLocks noChangeArrowheads="1"/>
            </p:cNvSpPr>
            <p:nvPr/>
          </p:nvSpPr>
          <p:spPr bwMode="auto">
            <a:xfrm flipV="1">
              <a:off x="5787629" y="2177654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422657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08" name="等腰三角形 80"/>
            <p:cNvSpPr>
              <a:spLocks noChangeArrowheads="1"/>
            </p:cNvSpPr>
            <p:nvPr/>
          </p:nvSpPr>
          <p:spPr bwMode="auto">
            <a:xfrm flipV="1">
              <a:off x="5654279" y="2967038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774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09" name="等腰三角形 81"/>
            <p:cNvSpPr>
              <a:spLocks noChangeArrowheads="1"/>
            </p:cNvSpPr>
            <p:nvPr/>
          </p:nvSpPr>
          <p:spPr bwMode="auto">
            <a:xfrm flipV="1">
              <a:off x="5787629" y="2967038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774278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0" name="等腰三角形 82"/>
            <p:cNvSpPr>
              <a:spLocks noChangeArrowheads="1"/>
            </p:cNvSpPr>
            <p:nvPr/>
          </p:nvSpPr>
          <p:spPr bwMode="auto">
            <a:xfrm flipV="1">
              <a:off x="5661422" y="3756422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AF47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1" name="等腰三角形 83"/>
            <p:cNvSpPr>
              <a:spLocks noChangeArrowheads="1"/>
            </p:cNvSpPr>
            <p:nvPr/>
          </p:nvSpPr>
          <p:spPr bwMode="auto">
            <a:xfrm flipV="1">
              <a:off x="5794772" y="3756422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AF4778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2" name="等腰三角形 84"/>
            <p:cNvSpPr>
              <a:spLocks noChangeArrowheads="1"/>
            </p:cNvSpPr>
            <p:nvPr/>
          </p:nvSpPr>
          <p:spPr bwMode="auto">
            <a:xfrm flipV="1">
              <a:off x="5661422" y="4545806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D75F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3" name="等腰三角形 85"/>
            <p:cNvSpPr>
              <a:spLocks noChangeArrowheads="1"/>
            </p:cNvSpPr>
            <p:nvPr/>
          </p:nvSpPr>
          <p:spPr bwMode="auto">
            <a:xfrm flipV="1">
              <a:off x="5794772" y="4545806"/>
              <a:ext cx="551259" cy="476250"/>
            </a:xfrm>
            <a:prstGeom prst="triangle">
              <a:avLst>
                <a:gd name="adj" fmla="val 50000"/>
              </a:avLst>
            </a:prstGeom>
            <a:solidFill>
              <a:srgbClr val="D75F84">
                <a:alpha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lIns="90000" tIns="46800" rIns="90000" bIns="46800" anchor="ctr">
              <a:normAutofit fontScale="75000" lnSpcReduction="10000"/>
            </a:bodyPr>
            <a:lstStyle/>
            <a:p>
              <a:pPr algn="ctr"/>
              <a:endParaRPr lang="zh-CN" altLang="zh-CN" sz="14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4" name="文本框 25"/>
            <p:cNvSpPr>
              <a:spLocks noChangeArrowheads="1"/>
            </p:cNvSpPr>
            <p:nvPr/>
          </p:nvSpPr>
          <p:spPr bwMode="auto">
            <a:xfrm>
              <a:off x="5784056" y="2128838"/>
              <a:ext cx="35618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 lIns="90000" tIns="46800" rIns="90000" bIns="46800">
              <a:normAutofit fontScale="87500" lnSpcReduction="1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1</a:t>
              </a:r>
              <a:endParaRPr lang="zh-CN" altLang="en-US" sz="28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5" name="文本框 25"/>
            <p:cNvSpPr>
              <a:spLocks noChangeArrowheads="1"/>
            </p:cNvSpPr>
            <p:nvPr/>
          </p:nvSpPr>
          <p:spPr bwMode="auto">
            <a:xfrm>
              <a:off x="5784056" y="2900363"/>
              <a:ext cx="35618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 lIns="90000" tIns="46800" rIns="90000" bIns="46800">
              <a:normAutofit fontScale="87500" lnSpcReduction="1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2</a:t>
              </a:r>
              <a:endParaRPr lang="zh-CN" altLang="en-US" sz="28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6" name="文本框 25"/>
            <p:cNvSpPr>
              <a:spLocks noChangeArrowheads="1"/>
            </p:cNvSpPr>
            <p:nvPr/>
          </p:nvSpPr>
          <p:spPr bwMode="auto">
            <a:xfrm>
              <a:off x="5794772" y="3707607"/>
              <a:ext cx="35618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 lIns="90000" tIns="46800" rIns="90000" bIns="46800">
              <a:normAutofit fontScale="87500" lnSpcReduction="1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3</a:t>
              </a:r>
              <a:endParaRPr lang="zh-CN" altLang="en-US" sz="28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7" name="文本框 25"/>
            <p:cNvSpPr>
              <a:spLocks noChangeArrowheads="1"/>
            </p:cNvSpPr>
            <p:nvPr/>
          </p:nvSpPr>
          <p:spPr bwMode="auto">
            <a:xfrm>
              <a:off x="5799535" y="4489848"/>
              <a:ext cx="35618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 lIns="90000" tIns="46800" rIns="90000" bIns="46800">
              <a:normAutofit fontScale="87500" lnSpcReduction="1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4</a:t>
              </a:r>
              <a:endParaRPr lang="zh-CN" altLang="en-US" sz="28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118" name="文本框 92"/>
            <p:cNvSpPr>
              <a:spLocks noChangeArrowheads="1"/>
            </p:cNvSpPr>
            <p:nvPr/>
          </p:nvSpPr>
          <p:spPr bwMode="auto">
            <a:xfrm>
              <a:off x="6607167" y="2200275"/>
              <a:ext cx="1858137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800" b="1" kern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sym typeface="+mn-ea"/>
                </a:rPr>
                <a:t>团队介绍</a:t>
              </a:r>
              <a:endParaRPr lang="zh-CN" altLang="en-US" sz="1800" b="1" kern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ea"/>
              </a:endParaRPr>
            </a:p>
          </p:txBody>
        </p:sp>
        <p:sp>
          <p:nvSpPr>
            <p:cNvPr id="4119" name="文本框 93"/>
            <p:cNvSpPr>
              <a:spLocks noChangeArrowheads="1"/>
            </p:cNvSpPr>
            <p:nvPr/>
          </p:nvSpPr>
          <p:spPr bwMode="auto">
            <a:xfrm>
              <a:off x="6643900" y="3776662"/>
              <a:ext cx="2185150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800" b="1" kern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sym typeface="+mn-ea"/>
                </a:rPr>
                <a:t>输入</a:t>
              </a:r>
              <a:endParaRPr lang="zh-CN" altLang="en-US" sz="1800" b="1" kern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ea"/>
              </a:endParaRPr>
            </a:p>
          </p:txBody>
        </p:sp>
        <p:sp>
          <p:nvSpPr>
            <p:cNvPr id="4120" name="文本框 94"/>
            <p:cNvSpPr>
              <a:spLocks noChangeArrowheads="1"/>
            </p:cNvSpPr>
            <p:nvPr/>
          </p:nvSpPr>
          <p:spPr bwMode="auto">
            <a:xfrm>
              <a:off x="6620651" y="2997403"/>
              <a:ext cx="2355132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800" b="1" kern="0" dirty="0">
                  <a:solidFill>
                    <a:schemeClr val="bg1">
                      <a:lumMod val="50000"/>
                    </a:schemeClr>
                  </a:solidFill>
                  <a:sym typeface="+mn-ea"/>
                </a:rPr>
                <a:t>逻辑模型</a:t>
              </a:r>
              <a:endParaRPr lang="zh-CN" altLang="en-US" sz="1800" b="1" kern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ea"/>
                <a:sym typeface="+mn-ea"/>
              </a:endParaRPr>
            </a:p>
          </p:txBody>
        </p:sp>
        <p:sp>
          <p:nvSpPr>
            <p:cNvPr id="4121" name="文本框 95"/>
            <p:cNvSpPr>
              <a:spLocks noChangeArrowheads="1"/>
            </p:cNvSpPr>
            <p:nvPr/>
          </p:nvSpPr>
          <p:spPr bwMode="auto">
            <a:xfrm>
              <a:off x="6509344" y="4545808"/>
              <a:ext cx="866682" cy="491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/>
            <a:p>
              <a:pPr algn="ctr"/>
              <a:r>
                <a:rPr lang="zh-CN" altLang="en-US" sz="1800" b="1" kern="0" dirty="0">
                  <a:solidFill>
                    <a:schemeClr val="bg1">
                      <a:lumMod val="50000"/>
                    </a:schemeClr>
                  </a:solidFill>
                  <a:sym typeface="+mn-ea"/>
                </a:rPr>
                <a:t>输出</a:t>
              </a:r>
              <a:endParaRPr lang="zh-CN" altLang="en-US" sz="1800" b="1" kern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ea"/>
                <a:sym typeface="+mn-ea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-9525" y="2822448"/>
            <a:ext cx="5039917" cy="1978819"/>
            <a:chOff x="-9525" y="2590800"/>
            <a:chExt cx="5039917" cy="1978819"/>
          </a:xfrm>
        </p:grpSpPr>
        <p:sp>
          <p:nvSpPr>
            <p:cNvPr id="4098" name="任意多边形 127"/>
            <p:cNvSpPr>
              <a:spLocks noChangeArrowheads="1"/>
            </p:cNvSpPr>
            <p:nvPr/>
          </p:nvSpPr>
          <p:spPr bwMode="auto">
            <a:xfrm flipH="1" flipV="1">
              <a:off x="146448" y="2688431"/>
              <a:ext cx="4883944" cy="1881188"/>
            </a:xfrm>
            <a:custGeom>
              <a:avLst/>
              <a:gdLst>
                <a:gd name="T0" fmla="*/ 0 w 6511461"/>
                <a:gd name="T1" fmla="*/ 0 h 2507300"/>
                <a:gd name="T2" fmla="*/ 6511461 w 6511461"/>
                <a:gd name="T3" fmla="*/ 2507300 h 2507300"/>
              </a:gdLst>
              <a:ahLst/>
              <a:cxnLst/>
              <a:rect l="T0" t="T1" r="T2" b="T3"/>
              <a:pathLst>
                <a:path w="6511461" h="2507300">
                  <a:moveTo>
                    <a:pt x="1699105" y="813800"/>
                  </a:moveTo>
                  <a:lnTo>
                    <a:pt x="1809413" y="623614"/>
                  </a:lnTo>
                  <a:lnTo>
                    <a:pt x="1699105" y="623614"/>
                  </a:lnTo>
                  <a:lnTo>
                    <a:pt x="1699105" y="624395"/>
                  </a:lnTo>
                  <a:lnTo>
                    <a:pt x="1808791" y="624395"/>
                  </a:lnTo>
                  <a:lnTo>
                    <a:pt x="1699105" y="813509"/>
                  </a:lnTo>
                  <a:close/>
                  <a:moveTo>
                    <a:pt x="6511461" y="1247228"/>
                  </a:moveTo>
                  <a:lnTo>
                    <a:pt x="5788069" y="1247228"/>
                  </a:lnTo>
                  <a:lnTo>
                    <a:pt x="5064677" y="1247228"/>
                  </a:lnTo>
                  <a:lnTo>
                    <a:pt x="4702982" y="623615"/>
                  </a:lnTo>
                  <a:lnTo>
                    <a:pt x="4702981" y="623615"/>
                  </a:lnTo>
                  <a:lnTo>
                    <a:pt x="4341285" y="1247228"/>
                  </a:lnTo>
                  <a:lnTo>
                    <a:pt x="3979589" y="623614"/>
                  </a:lnTo>
                  <a:lnTo>
                    <a:pt x="4341285" y="0"/>
                  </a:lnTo>
                  <a:lnTo>
                    <a:pt x="5064677" y="0"/>
                  </a:lnTo>
                  <a:lnTo>
                    <a:pt x="5064677" y="1"/>
                  </a:lnTo>
                  <a:lnTo>
                    <a:pt x="5774032" y="1"/>
                  </a:lnTo>
                  <a:lnTo>
                    <a:pt x="5413139" y="622230"/>
                  </a:lnTo>
                  <a:lnTo>
                    <a:pt x="5413942" y="623614"/>
                  </a:lnTo>
                  <a:lnTo>
                    <a:pt x="5426373" y="623614"/>
                  </a:lnTo>
                  <a:lnTo>
                    <a:pt x="6149765" y="623614"/>
                  </a:lnTo>
                  <a:close/>
                  <a:moveTo>
                    <a:pt x="3979589" y="1870843"/>
                  </a:moveTo>
                  <a:lnTo>
                    <a:pt x="3617893" y="1247229"/>
                  </a:lnTo>
                  <a:lnTo>
                    <a:pt x="4341285" y="1247229"/>
                  </a:lnTo>
                  <a:close/>
                  <a:moveTo>
                    <a:pt x="4702981" y="1870843"/>
                  </a:moveTo>
                  <a:lnTo>
                    <a:pt x="4341285" y="1247229"/>
                  </a:lnTo>
                  <a:lnTo>
                    <a:pt x="5064677" y="1247229"/>
                  </a:lnTo>
                  <a:close/>
                  <a:moveTo>
                    <a:pt x="5064677" y="2494457"/>
                  </a:moveTo>
                  <a:lnTo>
                    <a:pt x="4341285" y="2494457"/>
                  </a:lnTo>
                  <a:lnTo>
                    <a:pt x="4702981" y="1870843"/>
                  </a:lnTo>
                  <a:close/>
                  <a:moveTo>
                    <a:pt x="6511461" y="2494457"/>
                  </a:moveTo>
                  <a:lnTo>
                    <a:pt x="5788069" y="2494457"/>
                  </a:lnTo>
                  <a:lnTo>
                    <a:pt x="6149765" y="1870843"/>
                  </a:lnTo>
                  <a:close/>
                  <a:moveTo>
                    <a:pt x="3616804" y="2496016"/>
                  </a:moveTo>
                  <a:lnTo>
                    <a:pt x="2893412" y="2496016"/>
                  </a:lnTo>
                  <a:lnTo>
                    <a:pt x="3255108" y="1872402"/>
                  </a:lnTo>
                  <a:close/>
                  <a:moveTo>
                    <a:pt x="2172710" y="2496797"/>
                  </a:moveTo>
                  <a:lnTo>
                    <a:pt x="1811014" y="1873183"/>
                  </a:lnTo>
                  <a:lnTo>
                    <a:pt x="2534406" y="1873183"/>
                  </a:lnTo>
                  <a:close/>
                  <a:moveTo>
                    <a:pt x="739311" y="2507300"/>
                  </a:moveTo>
                  <a:lnTo>
                    <a:pt x="732314" y="2495236"/>
                  </a:lnTo>
                  <a:lnTo>
                    <a:pt x="731818" y="2495236"/>
                  </a:lnTo>
                  <a:lnTo>
                    <a:pt x="732066" y="2494809"/>
                  </a:lnTo>
                  <a:lnTo>
                    <a:pt x="400173" y="1922580"/>
                  </a:lnTo>
                  <a:lnTo>
                    <a:pt x="398871" y="1922580"/>
                  </a:lnTo>
                  <a:lnTo>
                    <a:pt x="731917" y="2496797"/>
                  </a:lnTo>
                  <a:lnTo>
                    <a:pt x="8525" y="2496797"/>
                  </a:lnTo>
                  <a:lnTo>
                    <a:pt x="363791" y="1884269"/>
                  </a:lnTo>
                  <a:lnTo>
                    <a:pt x="363791" y="1871622"/>
                  </a:lnTo>
                  <a:lnTo>
                    <a:pt x="359583" y="1871622"/>
                  </a:lnTo>
                  <a:lnTo>
                    <a:pt x="360866" y="1869411"/>
                  </a:lnTo>
                  <a:lnTo>
                    <a:pt x="0" y="1247228"/>
                  </a:lnTo>
                  <a:lnTo>
                    <a:pt x="311" y="1247228"/>
                  </a:lnTo>
                  <a:lnTo>
                    <a:pt x="362007" y="623614"/>
                  </a:lnTo>
                  <a:lnTo>
                    <a:pt x="362317" y="623614"/>
                  </a:lnTo>
                  <a:lnTo>
                    <a:pt x="622" y="1"/>
                  </a:lnTo>
                  <a:lnTo>
                    <a:pt x="363791" y="1"/>
                  </a:lnTo>
                  <a:lnTo>
                    <a:pt x="363791" y="0"/>
                  </a:lnTo>
                  <a:lnTo>
                    <a:pt x="724325" y="0"/>
                  </a:lnTo>
                  <a:lnTo>
                    <a:pt x="1447717" y="0"/>
                  </a:lnTo>
                  <a:lnTo>
                    <a:pt x="1699105" y="0"/>
                  </a:lnTo>
                  <a:lnTo>
                    <a:pt x="2171109" y="0"/>
                  </a:lnTo>
                  <a:lnTo>
                    <a:pt x="2532805" y="623614"/>
                  </a:lnTo>
                  <a:lnTo>
                    <a:pt x="2894500" y="1247226"/>
                  </a:lnTo>
                  <a:lnTo>
                    <a:pt x="2894502" y="1247226"/>
                  </a:lnTo>
                  <a:lnTo>
                    <a:pt x="3256195" y="623618"/>
                  </a:lnTo>
                  <a:lnTo>
                    <a:pt x="3242677" y="623618"/>
                  </a:lnTo>
                  <a:lnTo>
                    <a:pt x="3248893" y="612902"/>
                  </a:lnTo>
                  <a:lnTo>
                    <a:pt x="2893411" y="3"/>
                  </a:lnTo>
                  <a:lnTo>
                    <a:pt x="3616803" y="3"/>
                  </a:lnTo>
                  <a:lnTo>
                    <a:pt x="3610588" y="10719"/>
                  </a:lnTo>
                  <a:lnTo>
                    <a:pt x="3966069" y="623618"/>
                  </a:lnTo>
                  <a:lnTo>
                    <a:pt x="3256200" y="623618"/>
                  </a:lnTo>
                  <a:lnTo>
                    <a:pt x="3617893" y="1247228"/>
                  </a:lnTo>
                  <a:lnTo>
                    <a:pt x="3616802" y="1247228"/>
                  </a:lnTo>
                  <a:lnTo>
                    <a:pt x="3255107" y="1870840"/>
                  </a:lnTo>
                  <a:lnTo>
                    <a:pt x="2893957" y="1248167"/>
                  </a:lnTo>
                  <a:lnTo>
                    <a:pt x="2532805" y="1870843"/>
                  </a:lnTo>
                  <a:lnTo>
                    <a:pt x="2171109" y="1247229"/>
                  </a:lnTo>
                  <a:lnTo>
                    <a:pt x="2893413" y="1247229"/>
                  </a:lnTo>
                  <a:lnTo>
                    <a:pt x="2893412" y="1247228"/>
                  </a:lnTo>
                  <a:lnTo>
                    <a:pt x="2171109" y="1247228"/>
                  </a:lnTo>
                  <a:lnTo>
                    <a:pt x="1699105" y="1247228"/>
                  </a:lnTo>
                  <a:lnTo>
                    <a:pt x="1699105" y="1247229"/>
                  </a:lnTo>
                  <a:lnTo>
                    <a:pt x="2171109" y="1247229"/>
                  </a:lnTo>
                  <a:lnTo>
                    <a:pt x="1809413" y="1870843"/>
                  </a:lnTo>
                  <a:lnTo>
                    <a:pt x="1807586" y="1873994"/>
                  </a:lnTo>
                  <a:lnTo>
                    <a:pt x="2167907" y="2495237"/>
                  </a:lnTo>
                  <a:lnTo>
                    <a:pt x="1444515" y="2495237"/>
                  </a:lnTo>
                  <a:lnTo>
                    <a:pt x="1444515" y="2495236"/>
                  </a:lnTo>
                  <a:lnTo>
                    <a:pt x="746308" y="2495236"/>
                  </a:lnTo>
                  <a:close/>
                </a:path>
              </a:pathLst>
            </a:custGeom>
            <a:gradFill rotWithShape="1">
              <a:gsLst>
                <a:gs pos="0">
                  <a:srgbClr val="284482"/>
                </a:gs>
                <a:gs pos="29999">
                  <a:srgbClr val="834F9B"/>
                </a:gs>
                <a:gs pos="64999">
                  <a:srgbClr val="A4377B"/>
                </a:gs>
                <a:gs pos="92000">
                  <a:srgbClr val="FD9A55"/>
                </a:gs>
                <a:gs pos="100000">
                  <a:srgbClr val="FD9A55"/>
                </a:gs>
              </a:gsLst>
              <a:lin ang="6000000" scaled="1"/>
            </a:gradFill>
            <a:ln w="3175" cap="flat" cmpd="sng">
              <a:solidFill>
                <a:srgbClr val="FFFFFF">
                  <a:alpha val="9999"/>
                </a:srgbClr>
              </a:solidFill>
              <a:bevel/>
            </a:ln>
          </p:spPr>
          <p:txBody>
            <a:bodyPr lIns="90000" tIns="46800" rIns="90000" bIns="46800" anchor="ctr">
              <a:normAutofit/>
            </a:bodyPr>
            <a:lstStyle/>
            <a:p>
              <a:pPr algn="ctr"/>
              <a:endParaRPr lang="zh-CN" altLang="zh-CN" sz="18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099" name="任意多边形 126"/>
            <p:cNvSpPr>
              <a:spLocks noChangeArrowheads="1"/>
            </p:cNvSpPr>
            <p:nvPr/>
          </p:nvSpPr>
          <p:spPr bwMode="auto">
            <a:xfrm flipH="1" flipV="1">
              <a:off x="-9525" y="2593181"/>
              <a:ext cx="4883944" cy="1881188"/>
            </a:xfrm>
            <a:custGeom>
              <a:avLst/>
              <a:gdLst>
                <a:gd name="T0" fmla="*/ 0 w 6511461"/>
                <a:gd name="T1" fmla="*/ 0 h 2507300"/>
                <a:gd name="T2" fmla="*/ 6511461 w 6511461"/>
                <a:gd name="T3" fmla="*/ 2507300 h 2507300"/>
              </a:gdLst>
              <a:ahLst/>
              <a:cxnLst/>
              <a:rect l="T0" t="T1" r="T2" b="T3"/>
              <a:pathLst>
                <a:path w="6511461" h="2507300">
                  <a:moveTo>
                    <a:pt x="1699105" y="813800"/>
                  </a:moveTo>
                  <a:lnTo>
                    <a:pt x="1809413" y="623614"/>
                  </a:lnTo>
                  <a:lnTo>
                    <a:pt x="1699105" y="623614"/>
                  </a:lnTo>
                  <a:lnTo>
                    <a:pt x="1699105" y="624395"/>
                  </a:lnTo>
                  <a:lnTo>
                    <a:pt x="1808791" y="624395"/>
                  </a:lnTo>
                  <a:lnTo>
                    <a:pt x="1699105" y="813509"/>
                  </a:lnTo>
                  <a:close/>
                  <a:moveTo>
                    <a:pt x="6511461" y="1247228"/>
                  </a:moveTo>
                  <a:lnTo>
                    <a:pt x="5788069" y="1247228"/>
                  </a:lnTo>
                  <a:lnTo>
                    <a:pt x="5064677" y="1247228"/>
                  </a:lnTo>
                  <a:lnTo>
                    <a:pt x="4702982" y="623615"/>
                  </a:lnTo>
                  <a:lnTo>
                    <a:pt x="4702981" y="623615"/>
                  </a:lnTo>
                  <a:lnTo>
                    <a:pt x="4341285" y="1247228"/>
                  </a:lnTo>
                  <a:lnTo>
                    <a:pt x="3979589" y="623614"/>
                  </a:lnTo>
                  <a:lnTo>
                    <a:pt x="4341285" y="0"/>
                  </a:lnTo>
                  <a:lnTo>
                    <a:pt x="5064677" y="0"/>
                  </a:lnTo>
                  <a:lnTo>
                    <a:pt x="5064677" y="1"/>
                  </a:lnTo>
                  <a:lnTo>
                    <a:pt x="5774032" y="1"/>
                  </a:lnTo>
                  <a:lnTo>
                    <a:pt x="5413139" y="622230"/>
                  </a:lnTo>
                  <a:lnTo>
                    <a:pt x="5413942" y="623614"/>
                  </a:lnTo>
                  <a:lnTo>
                    <a:pt x="5426373" y="623614"/>
                  </a:lnTo>
                  <a:lnTo>
                    <a:pt x="6149765" y="623614"/>
                  </a:lnTo>
                  <a:close/>
                  <a:moveTo>
                    <a:pt x="3979589" y="1870843"/>
                  </a:moveTo>
                  <a:lnTo>
                    <a:pt x="3617893" y="1247229"/>
                  </a:lnTo>
                  <a:lnTo>
                    <a:pt x="4341285" y="1247229"/>
                  </a:lnTo>
                  <a:close/>
                  <a:moveTo>
                    <a:pt x="4702981" y="1870843"/>
                  </a:moveTo>
                  <a:lnTo>
                    <a:pt x="4341285" y="1247229"/>
                  </a:lnTo>
                  <a:lnTo>
                    <a:pt x="5064677" y="1247229"/>
                  </a:lnTo>
                  <a:close/>
                  <a:moveTo>
                    <a:pt x="5064677" y="2494457"/>
                  </a:moveTo>
                  <a:lnTo>
                    <a:pt x="4341285" y="2494457"/>
                  </a:lnTo>
                  <a:lnTo>
                    <a:pt x="4702981" y="1870843"/>
                  </a:lnTo>
                  <a:close/>
                  <a:moveTo>
                    <a:pt x="6511461" y="2494457"/>
                  </a:moveTo>
                  <a:lnTo>
                    <a:pt x="5788069" y="2494457"/>
                  </a:lnTo>
                  <a:lnTo>
                    <a:pt x="6149765" y="1870843"/>
                  </a:lnTo>
                  <a:close/>
                  <a:moveTo>
                    <a:pt x="3616804" y="2496016"/>
                  </a:moveTo>
                  <a:lnTo>
                    <a:pt x="2893412" y="2496016"/>
                  </a:lnTo>
                  <a:lnTo>
                    <a:pt x="3255108" y="1872402"/>
                  </a:lnTo>
                  <a:close/>
                  <a:moveTo>
                    <a:pt x="2172710" y="2496797"/>
                  </a:moveTo>
                  <a:lnTo>
                    <a:pt x="1811014" y="1873183"/>
                  </a:lnTo>
                  <a:lnTo>
                    <a:pt x="2534406" y="1873183"/>
                  </a:lnTo>
                  <a:close/>
                  <a:moveTo>
                    <a:pt x="739311" y="2507300"/>
                  </a:moveTo>
                  <a:lnTo>
                    <a:pt x="732314" y="2495236"/>
                  </a:lnTo>
                  <a:lnTo>
                    <a:pt x="731818" y="2495236"/>
                  </a:lnTo>
                  <a:lnTo>
                    <a:pt x="732066" y="2494809"/>
                  </a:lnTo>
                  <a:lnTo>
                    <a:pt x="400173" y="1922580"/>
                  </a:lnTo>
                  <a:lnTo>
                    <a:pt x="398871" y="1922580"/>
                  </a:lnTo>
                  <a:lnTo>
                    <a:pt x="731917" y="2496797"/>
                  </a:lnTo>
                  <a:lnTo>
                    <a:pt x="8525" y="2496797"/>
                  </a:lnTo>
                  <a:lnTo>
                    <a:pt x="363791" y="1884269"/>
                  </a:lnTo>
                  <a:lnTo>
                    <a:pt x="363791" y="1871622"/>
                  </a:lnTo>
                  <a:lnTo>
                    <a:pt x="359583" y="1871622"/>
                  </a:lnTo>
                  <a:lnTo>
                    <a:pt x="360866" y="1869411"/>
                  </a:lnTo>
                  <a:lnTo>
                    <a:pt x="0" y="1247228"/>
                  </a:lnTo>
                  <a:lnTo>
                    <a:pt x="311" y="1247228"/>
                  </a:lnTo>
                  <a:lnTo>
                    <a:pt x="362007" y="623614"/>
                  </a:lnTo>
                  <a:lnTo>
                    <a:pt x="362317" y="623614"/>
                  </a:lnTo>
                  <a:lnTo>
                    <a:pt x="622" y="1"/>
                  </a:lnTo>
                  <a:lnTo>
                    <a:pt x="363791" y="1"/>
                  </a:lnTo>
                  <a:lnTo>
                    <a:pt x="363791" y="0"/>
                  </a:lnTo>
                  <a:lnTo>
                    <a:pt x="724325" y="0"/>
                  </a:lnTo>
                  <a:lnTo>
                    <a:pt x="1447717" y="0"/>
                  </a:lnTo>
                  <a:lnTo>
                    <a:pt x="1699105" y="0"/>
                  </a:lnTo>
                  <a:lnTo>
                    <a:pt x="2171109" y="0"/>
                  </a:lnTo>
                  <a:lnTo>
                    <a:pt x="2532805" y="623614"/>
                  </a:lnTo>
                  <a:lnTo>
                    <a:pt x="2894500" y="1247226"/>
                  </a:lnTo>
                  <a:lnTo>
                    <a:pt x="2894502" y="1247226"/>
                  </a:lnTo>
                  <a:lnTo>
                    <a:pt x="3256195" y="623618"/>
                  </a:lnTo>
                  <a:lnTo>
                    <a:pt x="3242677" y="623618"/>
                  </a:lnTo>
                  <a:lnTo>
                    <a:pt x="3248893" y="612902"/>
                  </a:lnTo>
                  <a:lnTo>
                    <a:pt x="2893411" y="3"/>
                  </a:lnTo>
                  <a:lnTo>
                    <a:pt x="3616803" y="3"/>
                  </a:lnTo>
                  <a:lnTo>
                    <a:pt x="3610588" y="10719"/>
                  </a:lnTo>
                  <a:lnTo>
                    <a:pt x="3966069" y="623618"/>
                  </a:lnTo>
                  <a:lnTo>
                    <a:pt x="3256200" y="623618"/>
                  </a:lnTo>
                  <a:lnTo>
                    <a:pt x="3617893" y="1247228"/>
                  </a:lnTo>
                  <a:lnTo>
                    <a:pt x="3616802" y="1247228"/>
                  </a:lnTo>
                  <a:lnTo>
                    <a:pt x="3255107" y="1870840"/>
                  </a:lnTo>
                  <a:lnTo>
                    <a:pt x="2893957" y="1248167"/>
                  </a:lnTo>
                  <a:lnTo>
                    <a:pt x="2532805" y="1870843"/>
                  </a:lnTo>
                  <a:lnTo>
                    <a:pt x="2171109" y="1247229"/>
                  </a:lnTo>
                  <a:lnTo>
                    <a:pt x="2893413" y="1247229"/>
                  </a:lnTo>
                  <a:lnTo>
                    <a:pt x="2893412" y="1247228"/>
                  </a:lnTo>
                  <a:lnTo>
                    <a:pt x="2171109" y="1247228"/>
                  </a:lnTo>
                  <a:lnTo>
                    <a:pt x="1699105" y="1247228"/>
                  </a:lnTo>
                  <a:lnTo>
                    <a:pt x="1699105" y="1247229"/>
                  </a:lnTo>
                  <a:lnTo>
                    <a:pt x="2171109" y="1247229"/>
                  </a:lnTo>
                  <a:lnTo>
                    <a:pt x="1809413" y="1870843"/>
                  </a:lnTo>
                  <a:lnTo>
                    <a:pt x="1807586" y="1873994"/>
                  </a:lnTo>
                  <a:lnTo>
                    <a:pt x="2167907" y="2495237"/>
                  </a:lnTo>
                  <a:lnTo>
                    <a:pt x="1444515" y="2495237"/>
                  </a:lnTo>
                  <a:lnTo>
                    <a:pt x="1444515" y="2495236"/>
                  </a:lnTo>
                  <a:lnTo>
                    <a:pt x="746308" y="2495236"/>
                  </a:lnTo>
                  <a:close/>
                </a:path>
              </a:pathLst>
            </a:custGeom>
            <a:blipFill dpi="0"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>
              <a:solidFill>
                <a:srgbClr val="FFFFFF">
                  <a:alpha val="9999"/>
                </a:srgbClr>
              </a:solidFill>
              <a:bevel/>
            </a:ln>
          </p:spPr>
          <p:txBody>
            <a:bodyPr lIns="90000" tIns="46800" rIns="90000" bIns="46800" anchor="ctr">
              <a:normAutofit/>
            </a:bodyPr>
            <a:lstStyle/>
            <a:p>
              <a:pPr algn="ctr"/>
              <a:endParaRPr lang="zh-CN" altLang="zh-CN" sz="180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grpSp>
          <p:nvGrpSpPr>
            <p:cNvPr id="4122" name="组合 20"/>
            <p:cNvGrpSpPr/>
            <p:nvPr/>
          </p:nvGrpSpPr>
          <p:grpSpPr bwMode="auto">
            <a:xfrm>
              <a:off x="257176" y="2590800"/>
              <a:ext cx="4612481" cy="1893094"/>
              <a:chOff x="0" y="0"/>
              <a:chExt cx="6149765" cy="2523134"/>
            </a:xfrm>
          </p:grpSpPr>
          <p:sp>
            <p:nvSpPr>
              <p:cNvPr id="4123" name="直接连接符 4"/>
              <p:cNvSpPr>
                <a:spLocks noChangeShapeType="1"/>
              </p:cNvSpPr>
              <p:nvPr/>
            </p:nvSpPr>
            <p:spPr bwMode="auto">
              <a:xfrm>
                <a:off x="361696" y="1268560"/>
                <a:ext cx="735822" cy="1247227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4" name="直接连接符 97"/>
              <p:cNvSpPr>
                <a:spLocks noChangeShapeType="1"/>
              </p:cNvSpPr>
              <p:nvPr/>
            </p:nvSpPr>
            <p:spPr bwMode="auto">
              <a:xfrm>
                <a:off x="1084155" y="1250681"/>
                <a:ext cx="724325" cy="1265107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5" name="直接连接符 98"/>
              <p:cNvSpPr>
                <a:spLocks noChangeShapeType="1"/>
              </p:cNvSpPr>
              <p:nvPr/>
            </p:nvSpPr>
            <p:spPr bwMode="auto">
              <a:xfrm>
                <a:off x="3982546" y="22147"/>
                <a:ext cx="1429953" cy="2493640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6" name="直接连接符 100"/>
              <p:cNvSpPr>
                <a:spLocks noChangeShapeType="1"/>
              </p:cNvSpPr>
              <p:nvPr/>
            </p:nvSpPr>
            <p:spPr bwMode="auto">
              <a:xfrm>
                <a:off x="4717672" y="18991"/>
                <a:ext cx="1429953" cy="2493640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7" name="直接连接符 102"/>
              <p:cNvSpPr>
                <a:spLocks noChangeShapeType="1"/>
              </p:cNvSpPr>
              <p:nvPr/>
            </p:nvSpPr>
            <p:spPr bwMode="auto">
              <a:xfrm flipH="1">
                <a:off x="3981857" y="29494"/>
                <a:ext cx="1429953" cy="2493640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8" name="直接连接符 104"/>
              <p:cNvSpPr>
                <a:spLocks noChangeShapeType="1"/>
              </p:cNvSpPr>
              <p:nvPr/>
            </p:nvSpPr>
            <p:spPr bwMode="auto">
              <a:xfrm flipH="1">
                <a:off x="4702048" y="61737"/>
                <a:ext cx="1416434" cy="2454051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29" name="直接连接符 105"/>
              <p:cNvSpPr>
                <a:spLocks noChangeShapeType="1"/>
              </p:cNvSpPr>
              <p:nvPr/>
            </p:nvSpPr>
            <p:spPr bwMode="auto">
              <a:xfrm flipH="1">
                <a:off x="3622544" y="20551"/>
                <a:ext cx="1082706" cy="1878407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0" name="直接连接符 106"/>
              <p:cNvSpPr>
                <a:spLocks noChangeShapeType="1"/>
              </p:cNvSpPr>
              <p:nvPr/>
            </p:nvSpPr>
            <p:spPr bwMode="auto">
              <a:xfrm flipH="1">
                <a:off x="1097518" y="1892174"/>
                <a:ext cx="349266" cy="623613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1" name="直接连接符 109"/>
              <p:cNvSpPr>
                <a:spLocks noChangeShapeType="1"/>
              </p:cNvSpPr>
              <p:nvPr/>
            </p:nvSpPr>
            <p:spPr bwMode="auto">
              <a:xfrm flipH="1">
                <a:off x="719502" y="1261747"/>
                <a:ext cx="375266" cy="637239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2" name="直接连接符 110"/>
              <p:cNvSpPr>
                <a:spLocks noChangeShapeType="1"/>
              </p:cNvSpPr>
              <p:nvPr/>
            </p:nvSpPr>
            <p:spPr bwMode="auto">
              <a:xfrm flipH="1">
                <a:off x="3245" y="1259621"/>
                <a:ext cx="349266" cy="623613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3" name="直接连接符 114"/>
              <p:cNvSpPr>
                <a:spLocks noChangeShapeType="1"/>
              </p:cNvSpPr>
              <p:nvPr/>
            </p:nvSpPr>
            <p:spPr bwMode="auto">
              <a:xfrm flipH="1">
                <a:off x="5443786" y="1889018"/>
                <a:ext cx="349266" cy="623613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4" name="直接连接符 115"/>
              <p:cNvSpPr>
                <a:spLocks noChangeShapeType="1"/>
              </p:cNvSpPr>
              <p:nvPr/>
            </p:nvSpPr>
            <p:spPr bwMode="auto">
              <a:xfrm flipH="1" flipV="1">
                <a:off x="5410343" y="0"/>
                <a:ext cx="349266" cy="623613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5" name="直接连接符 116"/>
              <p:cNvSpPr>
                <a:spLocks noChangeShapeType="1"/>
              </p:cNvSpPr>
              <p:nvPr/>
            </p:nvSpPr>
            <p:spPr bwMode="auto">
              <a:xfrm>
                <a:off x="3970485" y="1239475"/>
                <a:ext cx="731563" cy="1276313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6" name="直接连接符 120"/>
              <p:cNvSpPr>
                <a:spLocks noChangeShapeType="1"/>
              </p:cNvSpPr>
              <p:nvPr/>
            </p:nvSpPr>
            <p:spPr bwMode="auto">
              <a:xfrm flipH="1">
                <a:off x="0" y="1892174"/>
                <a:ext cx="2170176" cy="1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7" name="直接连接符 121"/>
              <p:cNvSpPr>
                <a:spLocks noChangeShapeType="1"/>
              </p:cNvSpPr>
              <p:nvPr/>
            </p:nvSpPr>
            <p:spPr bwMode="auto">
              <a:xfrm flipH="1">
                <a:off x="3622544" y="1898958"/>
                <a:ext cx="2170176" cy="1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8" name="直接连接符 124"/>
              <p:cNvSpPr>
                <a:spLocks noChangeShapeType="1"/>
              </p:cNvSpPr>
              <p:nvPr/>
            </p:nvSpPr>
            <p:spPr bwMode="auto">
              <a:xfrm flipH="1" flipV="1">
                <a:off x="2547497" y="1256054"/>
                <a:ext cx="3602268" cy="12506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sp>
            <p:nvSpPr>
              <p:cNvPr id="4139" name="直接连接符 125"/>
              <p:cNvSpPr>
                <a:spLocks noChangeShapeType="1"/>
              </p:cNvSpPr>
              <p:nvPr/>
            </p:nvSpPr>
            <p:spPr bwMode="auto">
              <a:xfrm flipH="1" flipV="1">
                <a:off x="4359872" y="639931"/>
                <a:ext cx="1419672" cy="2674"/>
              </a:xfrm>
              <a:prstGeom prst="line">
                <a:avLst/>
              </a:prstGeom>
              <a:noFill/>
              <a:ln w="6350" cap="flat" cmpd="sng">
                <a:solidFill>
                  <a:srgbClr val="FFFFFF">
                    <a:alpha val="39999"/>
                  </a:srgbClr>
                </a:solidFill>
                <a:beve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zh-CN" altLang="en-US" sz="1800"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</p:grpSp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等腰三角形 85"/>
          <p:cNvSpPr>
            <a:spLocks noChangeArrowheads="1"/>
          </p:cNvSpPr>
          <p:nvPr/>
        </p:nvSpPr>
        <p:spPr bwMode="auto">
          <a:xfrm flipV="1">
            <a:off x="5352326" y="5125717"/>
            <a:ext cx="602613" cy="440058"/>
          </a:xfrm>
          <a:prstGeom prst="triangle">
            <a:avLst>
              <a:gd name="adj" fmla="val 50000"/>
            </a:avLst>
          </a:prstGeom>
          <a:solidFill>
            <a:srgbClr val="D75F84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90000" tIns="46800" rIns="90000" bIns="46800" anchor="ctr">
            <a:normAutofit fontScale="75000" lnSpcReduction="10000"/>
          </a:bodyPr>
          <a:lstStyle/>
          <a:p>
            <a:pPr algn="ctr"/>
            <a:endParaRPr lang="zh-CN" altLang="zh-CN" sz="140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等腰三角形 84"/>
          <p:cNvSpPr>
            <a:spLocks noChangeArrowheads="1"/>
          </p:cNvSpPr>
          <p:nvPr/>
        </p:nvSpPr>
        <p:spPr bwMode="auto">
          <a:xfrm flipV="1">
            <a:off x="5256718" y="5073012"/>
            <a:ext cx="602613" cy="440058"/>
          </a:xfrm>
          <a:prstGeom prst="triangle">
            <a:avLst>
              <a:gd name="adj" fmla="val 50000"/>
            </a:avLst>
          </a:prstGeom>
          <a:solidFill>
            <a:srgbClr val="D75F84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90000" tIns="46800" rIns="90000" bIns="46800" anchor="ctr">
            <a:normAutofit fontScale="75000" lnSpcReduction="10000"/>
          </a:bodyPr>
          <a:lstStyle/>
          <a:p>
            <a:pPr algn="ctr"/>
            <a:endParaRPr lang="zh-CN" altLang="zh-CN" sz="140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25"/>
          <p:cNvSpPr>
            <a:spLocks noChangeArrowheads="1"/>
          </p:cNvSpPr>
          <p:nvPr/>
        </p:nvSpPr>
        <p:spPr bwMode="auto">
          <a:xfrm>
            <a:off x="5394998" y="5059407"/>
            <a:ext cx="389370" cy="426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none" lIns="90000" tIns="46800" rIns="90000" bIns="46800">
            <a:normAutofit fontScale="87500" lnSpcReduction="10000"/>
          </a:bodyPr>
          <a:lstStyle/>
          <a:p>
            <a:r>
              <a:rPr lang="en-US" altLang="zh-CN" sz="280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5</a:t>
            </a:r>
            <a:endParaRPr lang="zh-CN" altLang="en-US" sz="280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094730" y="5102860"/>
            <a:ext cx="1553845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>
                <a:solidFill>
                  <a:schemeClr val="bg1">
                    <a:lumMod val="50000"/>
                  </a:schemeClr>
                </a:solidFill>
                <a:latin typeface="宋体" panose="02010600030101010101" pitchFamily="2" charset="-122"/>
              </a:rPr>
              <a:t>成果展示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94386" y="2545512"/>
            <a:ext cx="7519087" cy="3260101"/>
            <a:chOff x="1788160" y="1716959"/>
            <a:chExt cx="8453120" cy="4346802"/>
          </a:xfrm>
        </p:grpSpPr>
        <p:grpSp>
          <p:nvGrpSpPr>
            <p:cNvPr id="11" name="组合 10"/>
            <p:cNvGrpSpPr/>
            <p:nvPr/>
          </p:nvGrpSpPr>
          <p:grpSpPr>
            <a:xfrm>
              <a:off x="1788160" y="1717895"/>
              <a:ext cx="8453120" cy="4345866"/>
              <a:chOff x="1788160" y="1717895"/>
              <a:chExt cx="8204778" cy="4345866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7950778" y="1726132"/>
                <a:ext cx="2042160" cy="4337629"/>
              </a:xfrm>
              <a:prstGeom prst="rect">
                <a:avLst/>
              </a:prstGeom>
              <a:noFill/>
              <a:ln w="762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icrosoft JhengHei" panose="020B0604030504040204" pitchFamily="34" charset="-120"/>
                  <a:ea typeface="Microsoft JhengHei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5890549" y="1726132"/>
                <a:ext cx="2042160" cy="4337629"/>
              </a:xfrm>
              <a:prstGeom prst="rect">
                <a:avLst/>
              </a:prstGeom>
              <a:noFill/>
              <a:ln w="762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icrosoft JhengHei" panose="020B0604030504040204" pitchFamily="34" charset="-120"/>
                  <a:ea typeface="Microsoft JhengHei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3848389" y="1717895"/>
                <a:ext cx="2042160" cy="4337629"/>
              </a:xfrm>
              <a:prstGeom prst="rect">
                <a:avLst/>
              </a:prstGeom>
              <a:noFill/>
              <a:ln w="762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icrosoft JhengHei" panose="020B0604030504040204" pitchFamily="34" charset="-120"/>
                  <a:ea typeface="Microsoft JhengHei" panose="020B0604030504040204" pitchFamily="34" charset="-120"/>
                  <a:cs typeface="Lantinghei SC Extralight" charset="-122"/>
                </a:endParaRPr>
              </a:p>
            </p:txBody>
          </p:sp>
          <p:sp>
            <p:nvSpPr>
              <p:cNvPr id="19" name="矩形 18"/>
              <p:cNvSpPr/>
              <p:nvPr/>
            </p:nvSpPr>
            <p:spPr>
              <a:xfrm>
                <a:off x="1788160" y="1717896"/>
                <a:ext cx="2042160" cy="4337629"/>
              </a:xfrm>
              <a:prstGeom prst="rect">
                <a:avLst/>
              </a:prstGeom>
              <a:noFill/>
              <a:ln w="76200" cap="flat" cmpd="sng" algn="ctr">
                <a:solidFill>
                  <a:srgbClr val="F6BB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685800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975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icrosoft JhengHei" panose="020B0604030504040204" pitchFamily="34" charset="-120"/>
                  <a:ea typeface="Microsoft JhengHei" panose="020B0604030504040204" pitchFamily="34" charset="-120"/>
                  <a:cs typeface="Lantinghei SC Extralight" charset="-122"/>
                </a:endParaRPr>
              </a:p>
            </p:txBody>
          </p:sp>
        </p:grpSp>
        <p:sp>
          <p:nvSpPr>
            <p:cNvPr id="12" name="直角三角形 11"/>
            <p:cNvSpPr/>
            <p:nvPr/>
          </p:nvSpPr>
          <p:spPr>
            <a:xfrm rot="5400000" flipV="1">
              <a:off x="3377225" y="1726132"/>
              <a:ext cx="487945" cy="487945"/>
            </a:xfrm>
            <a:prstGeom prst="rtTriangle">
              <a:avLst/>
            </a:prstGeom>
            <a:solidFill>
              <a:srgbClr val="F6BB00"/>
            </a:solidFill>
            <a:ln w="12700" cap="flat" cmpd="sng" algn="ctr">
              <a:solidFill>
                <a:srgbClr val="F6B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13" name="直角三角形 12"/>
            <p:cNvSpPr/>
            <p:nvPr/>
          </p:nvSpPr>
          <p:spPr>
            <a:xfrm rot="5400000" flipV="1">
              <a:off x="5522592" y="1726132"/>
              <a:ext cx="487945" cy="487945"/>
            </a:xfrm>
            <a:prstGeom prst="rtTriangle">
              <a:avLst/>
            </a:prstGeom>
            <a:solidFill>
              <a:srgbClr val="F6BB00"/>
            </a:solidFill>
            <a:ln w="12700" cap="flat" cmpd="sng" algn="ctr">
              <a:solidFill>
                <a:srgbClr val="F6B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14" name="直角三角形 13"/>
            <p:cNvSpPr/>
            <p:nvPr/>
          </p:nvSpPr>
          <p:spPr>
            <a:xfrm rot="5400000" flipV="1">
              <a:off x="7591307" y="1726132"/>
              <a:ext cx="487945" cy="487945"/>
            </a:xfrm>
            <a:prstGeom prst="rtTriangle">
              <a:avLst/>
            </a:prstGeom>
            <a:solidFill>
              <a:srgbClr val="F6BB00"/>
            </a:solidFill>
            <a:ln w="12700" cap="flat" cmpd="sng" algn="ctr">
              <a:solidFill>
                <a:srgbClr val="F6B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15" name="直角三角形 14"/>
            <p:cNvSpPr/>
            <p:nvPr/>
          </p:nvSpPr>
          <p:spPr>
            <a:xfrm rot="5400000" flipV="1">
              <a:off x="9726373" y="1716959"/>
              <a:ext cx="487945" cy="487945"/>
            </a:xfrm>
            <a:prstGeom prst="rtTriangle">
              <a:avLst/>
            </a:prstGeom>
            <a:solidFill>
              <a:srgbClr val="F6BB00"/>
            </a:solidFill>
            <a:ln w="12700" cap="flat" cmpd="sng" algn="ctr">
              <a:solidFill>
                <a:srgbClr val="F6BB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</p:grpSp>
      <p:sp>
        <p:nvSpPr>
          <p:cNvPr id="5" name="Rounded Rectangle 7"/>
          <p:cNvSpPr/>
          <p:nvPr/>
        </p:nvSpPr>
        <p:spPr>
          <a:xfrm>
            <a:off x="1303023" y="2003380"/>
            <a:ext cx="7701812" cy="514623"/>
          </a:xfrm>
          <a:prstGeom prst="roundRect">
            <a:avLst/>
          </a:prstGeom>
          <a:noFill/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2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6" name="Rounded Rectangle 3"/>
          <p:cNvSpPr/>
          <p:nvPr/>
        </p:nvSpPr>
        <p:spPr>
          <a:xfrm>
            <a:off x="1303023" y="1403978"/>
            <a:ext cx="7701812" cy="535382"/>
          </a:xfrm>
          <a:prstGeom prst="roundRect">
            <a:avLst/>
          </a:prstGeom>
          <a:noFill/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9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7" name="Rounded Rectangle 15"/>
          <p:cNvSpPr/>
          <p:nvPr/>
        </p:nvSpPr>
        <p:spPr>
          <a:xfrm>
            <a:off x="1303023" y="5849827"/>
            <a:ext cx="7701813" cy="514623"/>
          </a:xfrm>
          <a:prstGeom prst="roundRect">
            <a:avLst/>
          </a:prstGeom>
          <a:noFill/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2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303023" y="1997203"/>
            <a:ext cx="862956" cy="51462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目标</a:t>
            </a:r>
            <a:endParaRPr kumimoji="0" lang="en-US" sz="2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9" name="Rounded Rectangle 7"/>
          <p:cNvSpPr/>
          <p:nvPr/>
        </p:nvSpPr>
        <p:spPr>
          <a:xfrm>
            <a:off x="1303023" y="1403978"/>
            <a:ext cx="862956" cy="51462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背景</a:t>
            </a:r>
            <a:endParaRPr kumimoji="0" lang="en-US" sz="2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10" name="Rounded Rectangle 7"/>
          <p:cNvSpPr/>
          <p:nvPr/>
        </p:nvSpPr>
        <p:spPr>
          <a:xfrm>
            <a:off x="1324079" y="5849827"/>
            <a:ext cx="1324994" cy="51462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外部因素</a:t>
            </a:r>
            <a:endParaRPr kumimoji="0" lang="en-US" sz="2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220939" y="1273137"/>
            <a:ext cx="1082282" cy="5157788"/>
            <a:chOff x="-80966" y="-19050"/>
            <a:chExt cx="1443043" cy="6877051"/>
          </a:xfrm>
        </p:grpSpPr>
        <p:sp>
          <p:nvSpPr>
            <p:cNvPr id="21" name="任意多边形 20"/>
            <p:cNvSpPr/>
            <p:nvPr/>
          </p:nvSpPr>
          <p:spPr>
            <a:xfrm rot="16200000" flipV="1">
              <a:off x="-2489564" y="2408598"/>
              <a:ext cx="6260239" cy="1443042"/>
            </a:xfrm>
            <a:custGeom>
              <a:avLst/>
              <a:gdLst>
                <a:gd name="connsiteX0" fmla="*/ 6260239 w 6260239"/>
                <a:gd name="connsiteY0" fmla="*/ 1443042 h 1443042"/>
                <a:gd name="connsiteX1" fmla="*/ 6260239 w 6260239"/>
                <a:gd name="connsiteY1" fmla="*/ 1370077 h 1443042"/>
                <a:gd name="connsiteX2" fmla="*/ 3239468 w 6260239"/>
                <a:gd name="connsiteY2" fmla="*/ 0 h 1443042"/>
                <a:gd name="connsiteX3" fmla="*/ 0 w 6260239"/>
                <a:gd name="connsiteY3" fmla="*/ 1443042 h 144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0239" h="1443042">
                  <a:moveTo>
                    <a:pt x="6260239" y="1443042"/>
                  </a:moveTo>
                  <a:lnTo>
                    <a:pt x="6260239" y="1370077"/>
                  </a:lnTo>
                  <a:lnTo>
                    <a:pt x="3239468" y="0"/>
                  </a:lnTo>
                  <a:lnTo>
                    <a:pt x="0" y="1443042"/>
                  </a:lnTo>
                  <a:close/>
                </a:path>
              </a:pathLst>
            </a:custGeom>
            <a:solidFill>
              <a:srgbClr val="FFC001"/>
            </a:solidFill>
            <a:ln w="12700" cap="flat" cmpd="sng" algn="ctr">
              <a:solidFill>
                <a:srgbClr val="DBB76C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  <p:sp>
          <p:nvSpPr>
            <p:cNvPr id="22" name="任意多边形 21"/>
            <p:cNvSpPr/>
            <p:nvPr/>
          </p:nvSpPr>
          <p:spPr>
            <a:xfrm rot="16200000" flipV="1">
              <a:off x="-2557704" y="2938221"/>
              <a:ext cx="6396518" cy="1443041"/>
            </a:xfrm>
            <a:custGeom>
              <a:avLst/>
              <a:gdLst>
                <a:gd name="connsiteX0" fmla="*/ 6396518 w 6396518"/>
                <a:gd name="connsiteY0" fmla="*/ 1443041 h 1443041"/>
                <a:gd name="connsiteX1" fmla="*/ 3214875 w 6396518"/>
                <a:gd name="connsiteY1" fmla="*/ 0 h 1443041"/>
                <a:gd name="connsiteX2" fmla="*/ 0 w 6396518"/>
                <a:gd name="connsiteY2" fmla="*/ 1432086 h 1443041"/>
                <a:gd name="connsiteX3" fmla="*/ 0 w 6396518"/>
                <a:gd name="connsiteY3" fmla="*/ 1443041 h 144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96518" h="1443041">
                  <a:moveTo>
                    <a:pt x="6396518" y="1443041"/>
                  </a:moveTo>
                  <a:lnTo>
                    <a:pt x="3214875" y="0"/>
                  </a:lnTo>
                  <a:lnTo>
                    <a:pt x="0" y="1432086"/>
                  </a:lnTo>
                  <a:lnTo>
                    <a:pt x="0" y="1443041"/>
                  </a:lnTo>
                  <a:close/>
                </a:path>
              </a:pathLst>
            </a:custGeom>
            <a:solidFill>
              <a:srgbClr val="3A3A3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6858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975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endParaRPr>
            </a:p>
          </p:txBody>
        </p:sp>
        <p:cxnSp>
          <p:nvCxnSpPr>
            <p:cNvPr id="23" name="直接连接符 22"/>
            <p:cNvCxnSpPr/>
            <p:nvPr/>
          </p:nvCxnSpPr>
          <p:spPr>
            <a:xfrm rot="16200000" flipV="1">
              <a:off x="-529500" y="638885"/>
              <a:ext cx="2419074" cy="1103204"/>
            </a:xfrm>
            <a:prstGeom prst="line">
              <a:avLst/>
            </a:prstGeom>
            <a:noFill/>
            <a:ln w="6350" cap="flat" cmpd="sng" algn="ctr">
              <a:solidFill>
                <a:srgbClr val="3A3A3A"/>
              </a:solidFill>
              <a:prstDash val="solid"/>
              <a:miter lim="800000"/>
            </a:ln>
            <a:effectLst/>
          </p:spPr>
        </p:cxnSp>
      </p:grpSp>
      <p:sp>
        <p:nvSpPr>
          <p:cNvPr id="24" name="文本框 4"/>
          <p:cNvSpPr txBox="1"/>
          <p:nvPr/>
        </p:nvSpPr>
        <p:spPr>
          <a:xfrm>
            <a:off x="227758" y="2249674"/>
            <a:ext cx="923330" cy="366118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2400" b="1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逻辑模型</a:t>
            </a:r>
            <a:endParaRPr lang="en-US" altLang="zh-CN" sz="2400" b="1" dirty="0" smtClean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TW" altLang="en-US" sz="2400" b="1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入學導引課</a:t>
            </a:r>
            <a:endParaRPr lang="zh-CN" altLang="en-US" sz="2400" b="1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25" name="Rectangle 11"/>
          <p:cNvSpPr/>
          <p:nvPr/>
        </p:nvSpPr>
        <p:spPr>
          <a:xfrm>
            <a:off x="7098813" y="3013798"/>
            <a:ext cx="18146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超限学习过程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GIT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的工具支持 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校内各社团资源支持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校内图书馆支持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现场所有同学自身的资源 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现场教学环境的支持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往期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长的资源 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教育中心的支持 </a:t>
            </a: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课程挑战方的导师、助教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支持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214630" lvl="1" indent="-214630" algn="l" defTabSz="685800" eaLnBrk="0" hangingPunct="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zh-CN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26" name="TextBox 12"/>
          <p:cNvSpPr txBox="1"/>
          <p:nvPr/>
        </p:nvSpPr>
        <p:spPr>
          <a:xfrm>
            <a:off x="5215789" y="3014515"/>
            <a:ext cx="1883023" cy="2603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天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导引课，三个课程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单元</a:t>
            </a:r>
            <a:endParaRPr lang="en-US" altLang="zh-CN" sz="800" b="1" dirty="0" smtClean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单元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一：认识自己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单元二：认识清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单元三：清华与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我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课程单元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一「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认识自己」： 优势测试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个人简历制作（自发迭代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）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课程单元二「认识清华」： 校园探索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定向越野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实验室探究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社团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资源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88900" indent="-889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课程单元三「清华与我」： 上期班级宪章</a:t>
            </a:r>
          </a:p>
          <a:p>
            <a:pPr marL="171450" indent="-17145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辩论班级宪章制定的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方法论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上期汇报演出</a:t>
            </a:r>
          </a:p>
          <a:p>
            <a:pPr marL="228600" indent="-228600" algn="l" defTabSz="685800" eaLnBrk="0" hangingPunct="0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制定班级宪章</a:t>
            </a:r>
          </a:p>
        </p:txBody>
      </p:sp>
      <p:sp>
        <p:nvSpPr>
          <p:cNvPr id="27" name="TextBox 25"/>
          <p:cNvSpPr txBox="1"/>
          <p:nvPr/>
        </p:nvSpPr>
        <p:spPr>
          <a:xfrm>
            <a:off x="3332030" y="3014146"/>
            <a:ext cx="1883760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57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名学员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分成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个学习小组。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每位学员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会数据工作流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会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WIKI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，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GIT 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完成纸质出版物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完成班级宪章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完成学员手册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完成社群画布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会逻辑模型（每日迭代）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0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个小组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/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任务成效展示：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完成终极汇报</a:t>
            </a:r>
          </a:p>
          <a:p>
            <a:pPr marL="177800" indent="-17780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搭建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班级社群平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42154" y="3005033"/>
            <a:ext cx="1889875" cy="171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630" indent="-21463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成员们学会相关软硬件技术手段，学会如何利用清华资源，做好自己的评判和定位，为未来学习做准备，做到认识自己，认识清华。</a:t>
            </a:r>
          </a:p>
          <a:p>
            <a:pPr marL="214630" indent="-21463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形成有效组织构架，分工合作，产出预期目标，包括宪章、主页、</a:t>
            </a:r>
            <a:r>
              <a:rPr lang="en-US" altLang="zh-CN" sz="800" b="1" dirty="0" err="1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ppt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等，认识版本控制的重要性，这是工程管理的核心。</a:t>
            </a:r>
          </a:p>
          <a:p>
            <a:pPr marL="214630" indent="-214630" algn="l" defTabSz="685800" eaLnBrk="0" hangingPunct="0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运用准确的语言文字表述成果和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要求。</a:t>
            </a:r>
            <a:endParaRPr lang="en-US" altLang="zh-CN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29" name="TextBox 25"/>
          <p:cNvSpPr txBox="1"/>
          <p:nvPr/>
        </p:nvSpPr>
        <p:spPr>
          <a:xfrm>
            <a:off x="2165979" y="2028620"/>
            <a:ext cx="66714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宏观：在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XLP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的课程结构中，进行学习与整合，了解管理的流程，实践管理的方法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中观：藉由定向越野挑战，实验室探究，图书馆介绍等课程项目「认识清华」，学会使用清华资源，选择合适的方式展开管理实践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微观：小团体内，确立工作目标，分工，建立组织构架，实践合弄制的管理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。</a:t>
            </a:r>
            <a:endParaRPr lang="zh-CN" altLang="en-US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0" name="TextBox 25"/>
          <p:cNvSpPr txBox="1"/>
          <p:nvPr/>
        </p:nvSpPr>
        <p:spPr>
          <a:xfrm>
            <a:off x="2156195" y="1438957"/>
            <a:ext cx="70231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宏观：清华大学工程管理硕士（以下简称：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），重在培养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生未来的战略管理能力和职业需求胜任力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中观：清华大学为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开设「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入学导引课」，透过三个单元的课程设计，让学员学习如何深入计算思维。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微观：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年度第二梯次「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入学导引课」，将于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2017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4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日 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- 2017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年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9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月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7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日办理为期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4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天的</a:t>
            </a:r>
            <a:r>
              <a:rPr lang="zh-CN" altLang="en-US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课程。</a:t>
            </a:r>
            <a:endParaRPr lang="en-US" altLang="zh-CN" sz="800" b="1" dirty="0"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1" name="Rounded Rectangle 7"/>
          <p:cNvSpPr/>
          <p:nvPr/>
        </p:nvSpPr>
        <p:spPr>
          <a:xfrm>
            <a:off x="1930259" y="2618790"/>
            <a:ext cx="71881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效果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2" name="Rounded Rectangle 7"/>
          <p:cNvSpPr/>
          <p:nvPr/>
        </p:nvSpPr>
        <p:spPr>
          <a:xfrm>
            <a:off x="3807950" y="2626426"/>
            <a:ext cx="712615" cy="339453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输出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3" name="Rounded Rectangle 7"/>
          <p:cNvSpPr/>
          <p:nvPr/>
        </p:nvSpPr>
        <p:spPr>
          <a:xfrm>
            <a:off x="5667749" y="2618790"/>
            <a:ext cx="740867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过程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4" name="Rounded Rectangle 7"/>
          <p:cNvSpPr/>
          <p:nvPr/>
        </p:nvSpPr>
        <p:spPr>
          <a:xfrm>
            <a:off x="7539242" y="2618790"/>
            <a:ext cx="726454" cy="347089"/>
          </a:xfrm>
          <a:prstGeom prst="roundRect">
            <a:avLst/>
          </a:prstGeom>
          <a:solidFill>
            <a:srgbClr val="3A3A3A"/>
          </a:solidFill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6858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输入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Lantinghei SC Extralight" charset="-122"/>
            </a:endParaRPr>
          </a:p>
        </p:txBody>
      </p:sp>
      <p:sp>
        <p:nvSpPr>
          <p:cNvPr id="35" name="文本框 1"/>
          <p:cNvSpPr txBox="1"/>
          <p:nvPr/>
        </p:nvSpPr>
        <p:spPr>
          <a:xfrm>
            <a:off x="2670129" y="5827733"/>
            <a:ext cx="36824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800" b="1" dirty="0" smtClean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 </a:t>
            </a: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1.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生在入学导引课初期，自我意识与集体意识需要进行磨合才能形成自组织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2.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生在有限时间内的健康与体力需要保持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3.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夜间教室资源少、无线网络不稳定因素</a:t>
            </a:r>
          </a:p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4.</a:t>
            </a:r>
            <a:r>
              <a:rPr lang="zh-CN" altLang="en-US" sz="800" b="1" dirty="0"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学生软件操作接受能力、课程知识接受能力不平均因素</a:t>
            </a:r>
          </a:p>
        </p:txBody>
      </p:sp>
      <p:sp>
        <p:nvSpPr>
          <p:cNvPr id="36" name="矩形 35"/>
          <p:cNvSpPr/>
          <p:nvPr/>
        </p:nvSpPr>
        <p:spPr>
          <a:xfrm>
            <a:off x="177449" y="2983582"/>
            <a:ext cx="7056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TW" sz="1600" b="1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Lantinghei SC Extralight" charset="-122"/>
              </a:rPr>
              <a:t>MEM</a:t>
            </a:r>
            <a:endParaRPr lang="zh-TW" altLang="en-US" sz="1600" b="1" dirty="0">
              <a:solidFill>
                <a:schemeClr val="bg1"/>
              </a:solidFill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475089" y="6450484"/>
            <a:ext cx="24821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集体修改逻辑模型</a:t>
            </a:r>
            <a:r>
              <a:rPr lang="en-US" altLang="zh-CN" dirty="0" smtClean="0"/>
              <a:t>44</a:t>
            </a:r>
            <a:r>
              <a:rPr lang="zh-CN" altLang="en-US" dirty="0" smtClean="0"/>
              <a:t>次</a:t>
            </a:r>
            <a:endParaRPr lang="zh-CN" altLang="en-US" dirty="0"/>
          </a:p>
        </p:txBody>
      </p:sp>
      <p:sp>
        <p:nvSpPr>
          <p:cNvPr id="38" name="Rectangle 4"/>
          <p:cNvSpPr txBox="1">
            <a:spLocks noChangeArrowheads="1"/>
          </p:cNvSpPr>
          <p:nvPr/>
        </p:nvSpPr>
        <p:spPr>
          <a:xfrm>
            <a:off x="377988" y="838201"/>
            <a:ext cx="6396038" cy="404812"/>
          </a:xfrm>
          <a:prstGeom prst="rect">
            <a:avLst/>
          </a:prstGeom>
        </p:spPr>
        <p:txBody>
          <a:bodyPr/>
          <a:lstStyle>
            <a:lvl1pPr marL="6858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Calibri Light" panose="020F0302020204030204" pitchFamily="34" charset="0"/>
              </a:defRPr>
            </a:lvl1pPr>
            <a:lvl2pPr marL="6858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2pPr>
            <a:lvl3pPr marL="6858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3pPr>
            <a:lvl4pPr marL="6858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4pPr>
            <a:lvl5pPr marL="6858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5pPr>
            <a:lvl6pPr marL="10287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6pPr>
            <a:lvl7pPr marL="13716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7pPr>
            <a:lvl8pPr marL="17145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8pPr>
            <a:lvl9pPr marL="2057400" indent="-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  <a:sym typeface="Calibri Light" panose="020F0302020204030204" pitchFamily="34" charset="0"/>
              </a:defRPr>
            </a:lvl9pPr>
          </a:lstStyle>
          <a:p>
            <a:pPr>
              <a:buFontTx/>
            </a:pPr>
            <a:r>
              <a:rPr lang="zh-CN" altLang="en-US" sz="2400" dirty="0" smtClean="0"/>
              <a:t>逻辑模型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37861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7" y="1414776"/>
            <a:ext cx="593416" cy="833750"/>
          </a:xfrm>
          <a:prstGeom prst="rect">
            <a:avLst/>
          </a:prstGeom>
        </p:spPr>
      </p:pic>
      <p:sp>
        <p:nvSpPr>
          <p:cNvPr id="4" name="文本框 29"/>
          <p:cNvSpPr txBox="1"/>
          <p:nvPr/>
        </p:nvSpPr>
        <p:spPr>
          <a:xfrm>
            <a:off x="1698171" y="1440900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2281261"/>
            <a:ext cx="622844" cy="820331"/>
          </a:xfrm>
          <a:prstGeom prst="rect">
            <a:avLst/>
          </a:prstGeom>
        </p:spPr>
      </p:pic>
      <p:sp>
        <p:nvSpPr>
          <p:cNvPr id="6" name="文本框 37"/>
          <p:cNvSpPr txBox="1"/>
          <p:nvPr/>
        </p:nvSpPr>
        <p:spPr>
          <a:xfrm>
            <a:off x="1698171" y="233025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7" name="文本框 38"/>
          <p:cNvSpPr txBox="1"/>
          <p:nvPr/>
        </p:nvSpPr>
        <p:spPr>
          <a:xfrm>
            <a:off x="1698171" y="3219604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8" name="文本框 39"/>
          <p:cNvSpPr txBox="1"/>
          <p:nvPr/>
        </p:nvSpPr>
        <p:spPr>
          <a:xfrm>
            <a:off x="1698171" y="4108956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9" name="文本框 40"/>
          <p:cNvSpPr txBox="1"/>
          <p:nvPr/>
        </p:nvSpPr>
        <p:spPr>
          <a:xfrm>
            <a:off x="1698171" y="4998308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10" name="文本框 41"/>
          <p:cNvSpPr txBox="1"/>
          <p:nvPr/>
        </p:nvSpPr>
        <p:spPr>
          <a:xfrm>
            <a:off x="1698171" y="5887662"/>
            <a:ext cx="7067006" cy="7451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31" y="4037455"/>
            <a:ext cx="697305" cy="93920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6" y="4817687"/>
            <a:ext cx="768577" cy="94709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57" y="5764784"/>
            <a:ext cx="692635" cy="92466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" y="3146827"/>
            <a:ext cx="622844" cy="945800"/>
          </a:xfrm>
          <a:prstGeom prst="rect">
            <a:avLst/>
          </a:prstGeom>
        </p:spPr>
      </p:pic>
      <p:sp>
        <p:nvSpPr>
          <p:cNvPr id="15" name="文本框 43"/>
          <p:cNvSpPr txBox="1"/>
          <p:nvPr/>
        </p:nvSpPr>
        <p:spPr>
          <a:xfrm>
            <a:off x="1698171" y="144090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吕伟京 组长 敢于挑战有担当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16" name="文本框 50"/>
          <p:cNvSpPr txBox="1"/>
          <p:nvPr/>
        </p:nvSpPr>
        <p:spPr>
          <a:xfrm>
            <a:off x="1698171" y="2330252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周昕 协调安排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17" name="文本框 51"/>
          <p:cNvSpPr txBox="1"/>
          <p:nvPr/>
        </p:nvSpPr>
        <p:spPr>
          <a:xfrm>
            <a:off x="1698171" y="3218403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贺萌 善于执行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18" name="文本框 52"/>
          <p:cNvSpPr txBox="1"/>
          <p:nvPr/>
        </p:nvSpPr>
        <p:spPr>
          <a:xfrm>
            <a:off x="1698171" y="411392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朱国峰 有思想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19" name="文本框 53"/>
          <p:cNvSpPr txBox="1"/>
          <p:nvPr/>
        </p:nvSpPr>
        <p:spPr>
          <a:xfrm>
            <a:off x="1698171" y="5021511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孙文博 稳重机智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  <p:sp>
        <p:nvSpPr>
          <p:cNvPr id="20" name="文本框 54"/>
          <p:cNvSpPr txBox="1"/>
          <p:nvPr/>
        </p:nvSpPr>
        <p:spPr>
          <a:xfrm>
            <a:off x="1698171" y="5887660"/>
            <a:ext cx="2586446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/>
              <a:t>吴江波 细致有毅力</a:t>
            </a:r>
            <a:endParaRPr lang="en-US" altLang="zh-CN" sz="1400" dirty="0"/>
          </a:p>
          <a:p>
            <a:pPr algn="l"/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02449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5397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b" anchorCtr="0" compatLnSpc="1"/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组织架构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37" y="1381125"/>
            <a:ext cx="8399529" cy="515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15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hqprint"/>
          <a:stretch>
            <a:fillRect/>
          </a:stretch>
        </p:blipFill>
        <p:spPr>
          <a:xfrm>
            <a:off x="500716" y="1397069"/>
            <a:ext cx="3287486" cy="246561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hqprint"/>
          <a:stretch>
            <a:fillRect/>
          </a:stretch>
        </p:blipFill>
        <p:spPr>
          <a:xfrm>
            <a:off x="500716" y="4023357"/>
            <a:ext cx="3291840" cy="2468880"/>
          </a:xfrm>
          <a:prstGeom prst="rect">
            <a:avLst/>
          </a:prstGeom>
        </p:spPr>
      </p:pic>
      <p:sp>
        <p:nvSpPr>
          <p:cNvPr id="5" name="文本框 19"/>
          <p:cNvSpPr txBox="1"/>
          <p:nvPr/>
        </p:nvSpPr>
        <p:spPr>
          <a:xfrm>
            <a:off x="3944983" y="1440900"/>
            <a:ext cx="4820194" cy="45662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endParaRPr lang="zh-CN" altLang="en-US" dirty="0"/>
          </a:p>
        </p:txBody>
      </p:sp>
      <p:sp>
        <p:nvSpPr>
          <p:cNvPr id="6" name="文本框 2"/>
          <p:cNvSpPr txBox="1"/>
          <p:nvPr/>
        </p:nvSpPr>
        <p:spPr>
          <a:xfrm>
            <a:off x="4088676" y="1493152"/>
            <a:ext cx="4624251" cy="479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600" b="1" dirty="0"/>
              <a:t>小组口号：学习管理，实践人生</a:t>
            </a:r>
            <a:endParaRPr lang="en-US" altLang="zh-CN" sz="1600" b="1" dirty="0"/>
          </a:p>
          <a:p>
            <a:pPr algn="l"/>
            <a:endParaRPr lang="en-US" altLang="zh-CN" sz="1600" dirty="0"/>
          </a:p>
          <a:p>
            <a:pPr algn="l"/>
            <a:r>
              <a:rPr lang="zh-CN" altLang="en-US" sz="1600" b="1" dirty="0"/>
              <a:t>学习成果：</a:t>
            </a:r>
            <a:endParaRPr lang="en-US" altLang="zh-CN" sz="1600" b="1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团队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认识了计算思维、版本迭代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习了清华精神和“最低标准”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学习了合型制和社区画布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学会使用</a:t>
            </a:r>
            <a:r>
              <a:rPr lang="en-US" altLang="zh-CN" sz="1600" dirty="0"/>
              <a:t>WIKI</a:t>
            </a:r>
            <a:r>
              <a:rPr lang="zh-CN" altLang="en-US" sz="1600" dirty="0"/>
              <a:t>、</a:t>
            </a:r>
            <a:r>
              <a:rPr lang="en-US" altLang="zh-CN" sz="1600" dirty="0"/>
              <a:t>GITH</a:t>
            </a:r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逻辑模型框架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学员手册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初步设定班级宪章并逐步修改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个人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r>
              <a:rPr lang="zh-CN" altLang="en-US" sz="1600" dirty="0"/>
              <a:t>完成小组学习报告</a:t>
            </a:r>
            <a:endParaRPr lang="en-US" altLang="zh-CN" sz="1600" dirty="0"/>
          </a:p>
          <a:p>
            <a:pPr marL="342900" indent="-342900" algn="l">
              <a:buFont typeface="+mj-lt"/>
              <a:buAutoNum type="arabicPeriod"/>
            </a:pPr>
            <a:endParaRPr lang="zh-CN" altLang="en-US" sz="1600" dirty="0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5143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b" anchorCtr="0" compatLnSpc="1"/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zh-CN" altLang="en-US" kern="0" dirty="0" smtClean="0">
                <a:solidFill>
                  <a:srgbClr val="000000"/>
                </a:solidFill>
                <a:latin typeface="Arial"/>
              </a:rPr>
              <a:t>学习成果和课程输出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椭圆 8">
            <a:hlinkClick r:id="rId4"/>
          </p:cNvPr>
          <p:cNvSpPr/>
          <p:nvPr/>
        </p:nvSpPr>
        <p:spPr bwMode="auto">
          <a:xfrm>
            <a:off x="5161280" y="6265448"/>
            <a:ext cx="2312670" cy="406400"/>
          </a:xfrm>
          <a:prstGeom prst="ellipse">
            <a:avLst/>
          </a:prstGeom>
          <a:solidFill>
            <a:srgbClr val="800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宋体" panose="02010600030101010101" pitchFamily="2" charset="-122"/>
              </a:rPr>
              <a:t>学习心得</a:t>
            </a:r>
            <a:endParaRPr kumimoji="0" lang="zh-CN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2988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9303" y="1110388"/>
            <a:ext cx="8604251" cy="587853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15:00-15:10    </a:t>
            </a: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       </a:t>
            </a:r>
            <a:r>
              <a:rPr lang="zh-CN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/>
          <p:cNvSpPr/>
          <p:nvPr/>
        </p:nvSpPr>
        <p:spPr>
          <a:xfrm>
            <a:off x="442503" y="2053558"/>
            <a:ext cx="3926298" cy="4271939"/>
          </a:xfrm>
          <a:prstGeom prst="rect">
            <a:avLst/>
          </a:prstGeom>
          <a:ln>
            <a:solidFill>
              <a:srgbClr val="295187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altLang="zh-CN" sz="1400" dirty="0" smtClean="0"/>
              <a:t>1</a:t>
            </a:r>
            <a:r>
              <a:rPr lang="zh-CN" altLang="zh-CN" sz="1400" dirty="0"/>
              <a:t>、明确工作方向</a:t>
            </a:r>
          </a:p>
          <a:p>
            <a:pPr algn="l"/>
            <a:r>
              <a:rPr lang="zh-CN" altLang="zh-CN" sz="1400" dirty="0"/>
              <a:t>经过商讨，本组今晚工作重点为学员手册制作、小组主页设计更新、晨间汇报准备等，个人需完成各自的本日学习报告、个人主页迭代更新，小组其它成员对本组其它成员进行审核敦促。</a:t>
            </a:r>
          </a:p>
          <a:p>
            <a:pPr algn="l"/>
            <a:r>
              <a:rPr lang="en-US" altLang="zh-CN" sz="1400" dirty="0"/>
              <a:t>2</a:t>
            </a:r>
            <a:r>
              <a:rPr lang="zh-CN" altLang="zh-CN" sz="1400" dirty="0"/>
              <a:t>、分析学员手册问题</a:t>
            </a:r>
          </a:p>
          <a:p>
            <a:pPr algn="l"/>
            <a:r>
              <a:rPr lang="zh-CN" altLang="zh-CN" sz="1400" dirty="0"/>
              <a:t>（</a:t>
            </a:r>
            <a:r>
              <a:rPr lang="en-US" altLang="zh-CN" sz="1400" dirty="0"/>
              <a:t>1</a:t>
            </a:r>
            <a:r>
              <a:rPr lang="zh-CN" altLang="zh-CN" sz="1400" dirty="0"/>
              <a:t>）目标不明确；</a:t>
            </a:r>
          </a:p>
          <a:p>
            <a:pPr algn="l"/>
            <a:r>
              <a:rPr lang="zh-CN" altLang="zh-CN" sz="1400" dirty="0"/>
              <a:t>（</a:t>
            </a:r>
            <a:r>
              <a:rPr lang="en-US" altLang="zh-CN" sz="1400" dirty="0"/>
              <a:t>2</a:t>
            </a:r>
            <a:r>
              <a:rPr lang="zh-CN" altLang="zh-CN" sz="1400" dirty="0"/>
              <a:t>）结构需要优化，学员看到手册获取信息量有限；</a:t>
            </a:r>
          </a:p>
          <a:p>
            <a:pPr algn="l"/>
            <a:r>
              <a:rPr lang="zh-CN" altLang="zh-CN" sz="1400" dirty="0"/>
              <a:t>（</a:t>
            </a:r>
            <a:r>
              <a:rPr lang="en-US" altLang="zh-CN" sz="1400" dirty="0"/>
              <a:t>3</a:t>
            </a:r>
            <a:r>
              <a:rPr lang="zh-CN" altLang="zh-CN" sz="1400" dirty="0"/>
              <a:t>）语法和文字有部分不合适的地方；</a:t>
            </a:r>
          </a:p>
          <a:p>
            <a:pPr algn="l"/>
            <a:r>
              <a:rPr lang="zh-CN" altLang="zh-CN" sz="1400" dirty="0"/>
              <a:t>（</a:t>
            </a:r>
            <a:r>
              <a:rPr lang="en-US" altLang="zh-CN" sz="1400" dirty="0"/>
              <a:t>4</a:t>
            </a:r>
            <a:r>
              <a:rPr lang="zh-CN" altLang="zh-CN" sz="1400" dirty="0"/>
              <a:t>）其它问题</a:t>
            </a:r>
            <a:r>
              <a:rPr lang="zh-CN" altLang="zh-CN" sz="1400" dirty="0" smtClean="0"/>
              <a:t>。</a:t>
            </a:r>
            <a:endParaRPr lang="en-US" altLang="zh-CN" sz="1400" dirty="0" smtClean="0"/>
          </a:p>
          <a:p>
            <a:pPr algn="l"/>
            <a:r>
              <a:rPr lang="en-US" altLang="zh-CN" sz="1400" dirty="0"/>
              <a:t>3</a:t>
            </a:r>
            <a:r>
              <a:rPr lang="zh-CN" altLang="en-US" sz="1400" dirty="0"/>
              <a:t>、任务分工：</a:t>
            </a:r>
          </a:p>
          <a:p>
            <a:pPr algn="l"/>
            <a:r>
              <a:rPr lang="zh-CN" altLang="en-US" sz="1400" dirty="0"/>
              <a:t>（</a:t>
            </a:r>
            <a:r>
              <a:rPr lang="en-US" altLang="zh-CN" sz="1400" dirty="0"/>
              <a:t>1</a:t>
            </a:r>
            <a:r>
              <a:rPr lang="zh-CN" altLang="en-US" sz="1400" dirty="0"/>
              <a:t>）学员手册分工</a:t>
            </a:r>
          </a:p>
          <a:p>
            <a:pPr algn="l"/>
            <a:r>
              <a:rPr lang="zh-CN" altLang="en-US" sz="1400" dirty="0"/>
              <a:t>全组成员对大纲进行头脑风暴式讨论，确定大纲和分工如下：</a:t>
            </a:r>
          </a:p>
          <a:p>
            <a:pPr algn="l"/>
            <a:endParaRPr lang="en-US" altLang="zh-CN" sz="1400" dirty="0" smtClean="0"/>
          </a:p>
        </p:txBody>
      </p:sp>
      <p:sp>
        <p:nvSpPr>
          <p:cNvPr id="5" name="矩形 4"/>
          <p:cNvSpPr/>
          <p:nvPr/>
        </p:nvSpPr>
        <p:spPr>
          <a:xfrm>
            <a:off x="4824003" y="2053558"/>
            <a:ext cx="3926298" cy="4264715"/>
          </a:xfrm>
          <a:prstGeom prst="rect">
            <a:avLst/>
          </a:prstGeom>
          <a:ln>
            <a:solidFill>
              <a:srgbClr val="295187"/>
            </a:solidFill>
          </a:ln>
        </p:spPr>
        <p:txBody>
          <a:bodyPr wrap="square">
            <a:noAutofit/>
          </a:bodyPr>
          <a:lstStyle/>
          <a:p>
            <a:pPr algn="l"/>
            <a:r>
              <a:rPr lang="zh-CN" altLang="en-US" sz="1400" dirty="0" smtClean="0"/>
              <a:t>序言</a:t>
            </a:r>
            <a:r>
              <a:rPr lang="en-US" altLang="zh-CN" sz="1400" dirty="0"/>
              <a:t>——</a:t>
            </a:r>
            <a:r>
              <a:rPr lang="zh-CN" altLang="en-US" sz="1400" dirty="0"/>
              <a:t>周昕</a:t>
            </a:r>
          </a:p>
          <a:p>
            <a:pPr algn="l"/>
            <a:r>
              <a:rPr lang="en-US" altLang="zh-CN" sz="1400" dirty="0"/>
              <a:t>XLP</a:t>
            </a:r>
            <a:r>
              <a:rPr lang="zh-CN" altLang="en-US" sz="1400" dirty="0"/>
              <a:t>课程介绍</a:t>
            </a:r>
            <a:r>
              <a:rPr lang="en-US" altLang="zh-CN" sz="1400" dirty="0"/>
              <a:t>——</a:t>
            </a:r>
            <a:r>
              <a:rPr lang="zh-CN" altLang="en-US" sz="1400" dirty="0"/>
              <a:t>吕伟京</a:t>
            </a:r>
          </a:p>
          <a:p>
            <a:pPr algn="l"/>
            <a:r>
              <a:rPr lang="zh-CN" altLang="en-US" sz="1400" dirty="0"/>
              <a:t>挑战设计方介绍</a:t>
            </a:r>
            <a:r>
              <a:rPr lang="en-US" altLang="zh-CN" sz="1400" dirty="0"/>
              <a:t>——</a:t>
            </a:r>
            <a:r>
              <a:rPr lang="zh-CN" altLang="en-US" sz="1400" dirty="0"/>
              <a:t>贺萌</a:t>
            </a:r>
          </a:p>
          <a:p>
            <a:pPr algn="l"/>
            <a:r>
              <a:rPr lang="zh-CN" altLang="en-US" sz="1400" dirty="0"/>
              <a:t>接受挑战方准备</a:t>
            </a:r>
            <a:r>
              <a:rPr lang="en-US" altLang="zh-CN" sz="1400" dirty="0"/>
              <a:t>——</a:t>
            </a:r>
            <a:r>
              <a:rPr lang="zh-CN" altLang="en-US" sz="1400" dirty="0"/>
              <a:t>朱国峰</a:t>
            </a:r>
          </a:p>
          <a:p>
            <a:pPr algn="l"/>
            <a:r>
              <a:rPr lang="zh-CN" altLang="en-US" sz="1400" dirty="0"/>
              <a:t>认识自己</a:t>
            </a:r>
            <a:r>
              <a:rPr lang="en-US" altLang="zh-CN" sz="1400" dirty="0"/>
              <a:t>——</a:t>
            </a:r>
            <a:r>
              <a:rPr lang="zh-CN" altLang="en-US" sz="1400" dirty="0"/>
              <a:t>孙文博</a:t>
            </a:r>
          </a:p>
          <a:p>
            <a:pPr algn="l"/>
            <a:r>
              <a:rPr lang="zh-CN" altLang="en-US" sz="1400" dirty="0"/>
              <a:t>认识清华</a:t>
            </a:r>
            <a:r>
              <a:rPr lang="en-US" altLang="zh-CN" sz="1400" dirty="0"/>
              <a:t>——</a:t>
            </a:r>
            <a:r>
              <a:rPr lang="zh-CN" altLang="en-US" sz="1400" dirty="0"/>
              <a:t>孙文博</a:t>
            </a:r>
          </a:p>
          <a:p>
            <a:pPr algn="l"/>
            <a:r>
              <a:rPr lang="zh-CN" altLang="en-US" sz="1400" dirty="0"/>
              <a:t>清华与我</a:t>
            </a:r>
            <a:r>
              <a:rPr lang="en-US" altLang="zh-CN" sz="1400" dirty="0"/>
              <a:t>——</a:t>
            </a:r>
            <a:r>
              <a:rPr lang="zh-CN" altLang="en-US" sz="1400" dirty="0"/>
              <a:t>孙文博</a:t>
            </a:r>
          </a:p>
          <a:p>
            <a:pPr algn="l"/>
            <a:r>
              <a:rPr lang="zh-CN" altLang="en-US" sz="1400" dirty="0"/>
              <a:t>产出与要求</a:t>
            </a:r>
            <a:r>
              <a:rPr lang="en-US" altLang="zh-CN" sz="1400" dirty="0"/>
              <a:t>——</a:t>
            </a:r>
            <a:r>
              <a:rPr lang="zh-CN" altLang="en-US" sz="1400" dirty="0"/>
              <a:t>朱国</a:t>
            </a:r>
            <a:r>
              <a:rPr lang="zh-CN" altLang="en-US" sz="1400" dirty="0" smtClean="0"/>
              <a:t>峰</a:t>
            </a:r>
            <a:endParaRPr lang="en-US" altLang="zh-CN" sz="1400" dirty="0" smtClean="0"/>
          </a:p>
          <a:p>
            <a:pPr algn="l"/>
            <a:r>
              <a:rPr lang="zh-CN" altLang="en-US" sz="1400" dirty="0"/>
              <a:t>会议行动项</a:t>
            </a:r>
          </a:p>
          <a:p>
            <a:pPr algn="l"/>
            <a:r>
              <a:rPr lang="en-US" altLang="zh-CN" sz="1400" dirty="0"/>
              <a:t>1.10:00</a:t>
            </a:r>
            <a:r>
              <a:rPr lang="zh-CN" altLang="en-US" sz="1400" dirty="0"/>
              <a:t>汇报工作进度；</a:t>
            </a:r>
          </a:p>
          <a:p>
            <a:pPr algn="l"/>
            <a:r>
              <a:rPr lang="en-US" altLang="zh-CN" sz="1400" dirty="0"/>
              <a:t>2.</a:t>
            </a:r>
            <a:r>
              <a:rPr lang="zh-CN" altLang="en-US" sz="1400" dirty="0"/>
              <a:t>每人领取个人任务卡片，完成一项勾掉一项（契合今天参观模范工厂的优化工作流水线，高效、正确的进行生产）</a:t>
            </a:r>
            <a:r>
              <a:rPr lang="en-US" altLang="zh-CN" sz="1400" dirty="0"/>
              <a:t>10:00</a:t>
            </a:r>
            <a:r>
              <a:rPr lang="zh-CN" altLang="en-US" sz="1400" dirty="0"/>
              <a:t>检查；</a:t>
            </a:r>
          </a:p>
          <a:p>
            <a:pPr algn="l"/>
            <a:r>
              <a:rPr lang="en-US" altLang="zh-CN" sz="1400" dirty="0"/>
              <a:t>3.</a:t>
            </a:r>
            <a:r>
              <a:rPr lang="zh-CN" altLang="en-US" sz="1400" dirty="0"/>
              <a:t>提前完成任务的，将个人任务卡提交至组长吕伟京，核对无误后加入其它攻关小组进行助攻</a:t>
            </a:r>
            <a:r>
              <a:rPr lang="zh-CN" altLang="en-US" sz="1400" dirty="0" smtClean="0"/>
              <a:t>。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55548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4D473-156E-4CEC-9BD7-7EE5EE7FCFB3}" type="datetime1">
              <a:rPr lang="zh-CN" altLang="en-US" smtClean="0"/>
              <a:t>2017/9/16</a:t>
            </a:fld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278491" y="1354228"/>
            <a:ext cx="8604251" cy="1191095"/>
          </a:xfrm>
          <a:prstGeom prst="rect">
            <a:avLst/>
          </a:prstGeom>
          <a:solidFill>
            <a:srgbClr val="D3D3D3"/>
          </a:solidFill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时间：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2017</a:t>
            </a: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年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9</a:t>
            </a: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月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14</a:t>
            </a: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日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19:00-19:20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地点：六教</a:t>
            </a:r>
            <a:r>
              <a:rPr lang="en-US" altLang="zh-CN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A003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人员：吕伟京、周昕、贺萌、孙文博、朱国锋、吴江波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4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主持：吕伟京</a:t>
            </a:r>
          </a:p>
        </p:txBody>
      </p:sp>
      <p:sp>
        <p:nvSpPr>
          <p:cNvPr id="4" name="矩形 3"/>
          <p:cNvSpPr/>
          <p:nvPr/>
        </p:nvSpPr>
        <p:spPr>
          <a:xfrm>
            <a:off x="608691" y="2953401"/>
            <a:ext cx="7049410" cy="3360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 smtClean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会议</a:t>
            </a:r>
            <a:r>
              <a:rPr lang="zh-CN" altLang="en-US" sz="1200" kern="100" dirty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议程及</a:t>
            </a:r>
            <a:r>
              <a:rPr lang="zh-CN" altLang="en-US" sz="1200" kern="100" dirty="0" smtClean="0">
                <a:latin typeface="Calibri" panose="020F0502020204030204" charset="0"/>
                <a:ea typeface="宋体" panose="02010600030101010101" pitchFamily="2" charset="-122"/>
                <a:cs typeface="Times New Roman" panose="02020603050405020304" pitchFamily="18" charset="0"/>
              </a:rPr>
              <a:t>决议</a:t>
            </a:r>
            <a:endParaRPr lang="en-US" altLang="zh-CN" sz="1200" kern="100" dirty="0">
              <a:latin typeface="Calibri" panose="020F050202020403020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1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、进度</a:t>
            </a:r>
            <a:r>
              <a:rPr lang="zh-CN" altLang="en-US" sz="1200" kern="100" dirty="0" smtClean="0">
                <a:latin typeface="Calibri" panose="020F0502020204030204" charset="0"/>
                <a:cs typeface="Times New Roman" panose="02020603050405020304" pitchFamily="18" charset="0"/>
              </a:rPr>
              <a:t>汇报</a:t>
            </a:r>
            <a:endParaRPr lang="zh-CN" altLang="en-US" sz="1200" kern="100" dirty="0">
              <a:latin typeface="Calibri" panose="020F050202020403020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2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、存在困难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手册排版讨论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整体基调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——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通过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细部：贺萌、吴江波建议字体大小调整，格式统一，减小后续调整优化工作难度和工作量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孙文博疑问讨论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*每做一件小事，写一个逻辑模型。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——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不通过，时间紧来不及操作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*编写模式：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*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Q+A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的模式（</a:t>
            </a:r>
            <a:r>
              <a:rPr lang="en-US" altLang="zh-CN" sz="1200" kern="100" dirty="0" err="1">
                <a:latin typeface="Calibri" panose="020F0502020204030204" charset="0"/>
                <a:cs typeface="Times New Roman" panose="02020603050405020304" pitchFamily="18" charset="0"/>
              </a:rPr>
              <a:t>eg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.: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你该认识清华的什么？）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——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通过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*传统编写模式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——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不通过，按照上一条执行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*认识清华、认识自己、我与清华三标题是否可以修改？</a:t>
            </a:r>
            <a:r>
              <a:rPr lang="en-US" altLang="zh-CN" sz="1200" kern="100" dirty="0">
                <a:latin typeface="Calibri" panose="020F0502020204030204" charset="0"/>
                <a:cs typeface="Times New Roman" panose="02020603050405020304" pitchFamily="18" charset="0"/>
              </a:rPr>
              <a:t>——</a:t>
            </a:r>
            <a:r>
              <a:rPr lang="zh-CN" altLang="en-US" sz="1200" kern="100" dirty="0">
                <a:latin typeface="Calibri" panose="020F0502020204030204" charset="0"/>
                <a:cs typeface="Times New Roman" panose="02020603050405020304" pitchFamily="18" charset="0"/>
              </a:rPr>
              <a:t>修改。</a:t>
            </a:r>
          </a:p>
          <a:p>
            <a:pPr algn="just">
              <a:spcAft>
                <a:spcPts val="0"/>
              </a:spcAft>
              <a:tabLst>
                <a:tab pos="2933700" algn="l"/>
              </a:tabLst>
            </a:pPr>
            <a:endParaRPr lang="zh-CN" altLang="en-US" sz="1200" kern="100" dirty="0">
              <a:latin typeface="Calibri" panose="020F0502020204030204" charset="0"/>
              <a:cs typeface="Times New Roman" panose="02020603050405020304" pitchFamily="18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5397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b" anchorCtr="0" compatLnSpc="1"/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762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会议纪要</a:t>
            </a:r>
            <a:r>
              <a:rPr kumimoji="0" lang="en-US" altLang="zh-CN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02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0093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对象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112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6594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矩形 3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algn="l">
              <a:spcBef>
                <a:spcPct val="0"/>
              </a:spcBef>
              <a:buFont typeface="Arial" panose="020B0604020202020204" pitchFamily="34" charset="0"/>
              <a:buNone/>
            </a:pPr>
            <a:endParaRPr kumimoji="0" lang="en-US" altLang="zh-CN" sz="1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黑体"/>
              <a:sym typeface="Arial"/>
            </a:endParaRPr>
          </a:p>
        </p:txBody>
      </p:sp>
      <p:graphicFrame>
        <p:nvGraphicFramePr>
          <p:cNvPr id="42" name="对象 4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93696207"/>
              </p:ext>
            </p:extLst>
          </p:nvPr>
        </p:nvGraphicFramePr>
        <p:xfrm>
          <a:off x="495300" y="1714500"/>
          <a:ext cx="3076516" cy="3933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6595" name="Chart" r:id="rId42" imgW="3076516" imgH="3933742" progId="MSGraph.Chart.8">
                  <p:embed followColorScheme="full"/>
                </p:oleObj>
              </mc:Choice>
              <mc:Fallback>
                <p:oleObj name="Chart" r:id="rId42" imgW="3076516" imgH="393374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495300" y="1714500"/>
                        <a:ext cx="3076516" cy="39337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3" name="直接连接符 42"/>
          <p:cNvCxnSpPr/>
          <p:nvPr>
            <p:custDataLst>
              <p:tags r:id="rId5"/>
            </p:custDataLst>
          </p:nvPr>
        </p:nvCxnSpPr>
        <p:spPr bwMode="auto">
          <a:xfrm>
            <a:off x="1333500" y="1400175"/>
            <a:ext cx="1423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" name="直接连接符 43"/>
          <p:cNvCxnSpPr/>
          <p:nvPr>
            <p:custDataLst>
              <p:tags r:id="rId6"/>
            </p:custDataLst>
          </p:nvPr>
        </p:nvCxnSpPr>
        <p:spPr bwMode="auto">
          <a:xfrm flipV="1">
            <a:off x="1333500" y="1400175"/>
            <a:ext cx="0" cy="25527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" name="直接连接符 44"/>
          <p:cNvCxnSpPr/>
          <p:nvPr>
            <p:custDataLst>
              <p:tags r:id="rId7"/>
            </p:custDataLst>
          </p:nvPr>
        </p:nvCxnSpPr>
        <p:spPr bwMode="auto">
          <a:xfrm>
            <a:off x="2757488" y="1400175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46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209675" y="3990975"/>
            <a:ext cx="24765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60561A0C-0BF0-4E13-A947-D2CE9CF6798B}" type="datetime'2''''''''''''''''''2'''''''''''''''''''''''''''''''''''">
              <a:rPr lang="en-US" altLang="en-US">
                <a:solidFill>
                  <a:srgbClr val="898989"/>
                </a:solidFill>
              </a:rPr>
              <a:pPr/>
              <a:t>22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47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651000" y="1263650"/>
            <a:ext cx="78898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CE8EBF-1269-4F80-AED7-CD5CE0C01D28}" type="datetime'''+''1''8''''''''''''''''''''''''''''''''''''2''''''''%'''''''">
              <a:rPr lang="en-US" altLang="en-US" b="1">
                <a:solidFill>
                  <a:srgbClr val="898989"/>
                </a:solidFill>
              </a:rPr>
              <a:pPr/>
              <a:t>+182%</a:t>
            </a:fld>
            <a:endParaRPr lang="en-US" altLang="zh-CN" b="1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48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33450" y="5656263"/>
            <a:ext cx="80010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5402B906-6348-4AD6-BFDC-2311FF81BEA7}" type="datetime'''''''201''''''7''''''''0''9''''''''''''''''''1''''''''4'''">
              <a:rPr lang="en-US" altLang="en-US">
                <a:solidFill>
                  <a:srgbClr val="898989"/>
                </a:solidFill>
              </a:rPr>
              <a:pPr/>
              <a:t>20170914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49" name="Rectangle 1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633663" y="1590675"/>
            <a:ext cx="24765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757BC653-6B56-4ABD-AAC8-A177DAE67878}" type="datetime'''''''''''6''2'''''''''">
              <a:rPr lang="en-US" altLang="en-US">
                <a:solidFill>
                  <a:srgbClr val="898989"/>
                </a:solidFill>
              </a:rPr>
              <a:pPr/>
              <a:t>62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50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058863" y="4484688"/>
            <a:ext cx="149225" cy="212725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</a:ln>
        </p:spPr>
        <p:txBody>
          <a:bodyPr vert="horz" wrap="none" lIns="25400" tIns="0" rIns="2540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6F274AD2-5F63-4EA0-8166-5FFECFA01FAD}" type="datetime'''''''''''''''''''''''''0'''''''''''">
              <a:rPr lang="en-US" altLang="en-US">
                <a:solidFill>
                  <a:srgbClr val="898989"/>
                </a:solidFill>
              </a:rPr>
              <a:pPr/>
              <a:t>0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51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357438" y="5656263"/>
            <a:ext cx="80010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528B39DD-1DF5-4308-9612-146849DB0AC4}" type="datetime'''''''''''''''''''''2''''017''''''''''''''''09''''1''5'''">
              <a:rPr lang="en-US" altLang="en-US">
                <a:solidFill>
                  <a:srgbClr val="898989"/>
                </a:solidFill>
              </a:rPr>
              <a:pPr/>
              <a:t>20170915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52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058863" y="4722813"/>
            <a:ext cx="149225" cy="212725"/>
          </a:xfrm>
          <a:prstGeom prst="rect">
            <a:avLst/>
          </a:prstGeom>
          <a:solidFill>
            <a:srgbClr val="6F8DB9"/>
          </a:solidFill>
          <a:ln w="9525">
            <a:noFill/>
            <a:miter lim="800000"/>
          </a:ln>
        </p:spPr>
        <p:txBody>
          <a:bodyPr vert="horz" wrap="none" lIns="25400" tIns="0" rIns="2540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012D9664-ECA0-42A2-8A0A-FAABF98A25C7}" type="datetime'''''''0'''''''''''''''''''''''''''''''''''">
              <a:rPr lang="en-US" altLang="en-US">
                <a:solidFill>
                  <a:schemeClr val="bg1"/>
                </a:solidFill>
              </a:rPr>
              <a:pPr/>
              <a:t>0</a:t>
            </a:fld>
            <a:endParaRPr lang="en-US" altLang="zh-CN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矩形 52"/>
          <p:cNvSpPr/>
          <p:nvPr>
            <p:custDataLst>
              <p:tags r:id="rId15"/>
            </p:custDataLst>
          </p:nvPr>
        </p:nvSpPr>
        <p:spPr bwMode="auto">
          <a:xfrm>
            <a:off x="3652838" y="1905000"/>
            <a:ext cx="250825" cy="1873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4" name="矩形 53"/>
          <p:cNvSpPr/>
          <p:nvPr>
            <p:custDataLst>
              <p:tags r:id="rId16"/>
            </p:custDataLst>
          </p:nvPr>
        </p:nvSpPr>
        <p:spPr bwMode="auto">
          <a:xfrm>
            <a:off x="3652838" y="2432050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5" name="矩形 54"/>
          <p:cNvSpPr/>
          <p:nvPr>
            <p:custDataLst>
              <p:tags r:id="rId17"/>
            </p:custDataLst>
          </p:nvPr>
        </p:nvSpPr>
        <p:spPr bwMode="auto">
          <a:xfrm>
            <a:off x="3652838" y="3222625"/>
            <a:ext cx="250825" cy="187325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6" name="矩形 55"/>
          <p:cNvSpPr/>
          <p:nvPr>
            <p:custDataLst>
              <p:tags r:id="rId18"/>
            </p:custDataLst>
          </p:nvPr>
        </p:nvSpPr>
        <p:spPr bwMode="auto">
          <a:xfrm>
            <a:off x="3652838" y="2168525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7" name="矩形 56"/>
          <p:cNvSpPr/>
          <p:nvPr>
            <p:custDataLst>
              <p:tags r:id="rId19"/>
            </p:custDataLst>
          </p:nvPr>
        </p:nvSpPr>
        <p:spPr bwMode="auto">
          <a:xfrm>
            <a:off x="3652838" y="2695575"/>
            <a:ext cx="250825" cy="187325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8" name="矩形 57"/>
          <p:cNvSpPr/>
          <p:nvPr>
            <p:custDataLst>
              <p:tags r:id="rId20"/>
            </p:custDataLst>
          </p:nvPr>
        </p:nvSpPr>
        <p:spPr bwMode="auto">
          <a:xfrm>
            <a:off x="3652838" y="2959100"/>
            <a:ext cx="250825" cy="187325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non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9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954463" y="2954338"/>
            <a:ext cx="815975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6EBE4147-A097-4C97-AE93-9235621B88B4}" type="datetime'''Lv'''' ''''''''''''''We''''''''''ij''''i''''''n''''''''g'">
              <a:rPr lang="en-US" altLang="en-US">
                <a:solidFill>
                  <a:srgbClr val="898989"/>
                </a:solidFill>
              </a:rPr>
              <a:pPr/>
              <a:t>Lv Weijing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0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954463" y="2163763"/>
            <a:ext cx="719138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4B837444-3DD6-467D-95AF-84E7D36CBEC0}" type="datetime'''He'' ''''''''M''''''''''''''''''''''''en''g'''''''''''''">
              <a:rPr lang="en-US" altLang="en-US">
                <a:solidFill>
                  <a:srgbClr val="898989"/>
                </a:solidFill>
              </a:rPr>
              <a:pPr/>
              <a:t>He Meng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1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954463" y="3217863"/>
            <a:ext cx="1033463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6F8B79C4-266F-40E0-BEEE-209D7FCA4AF3}" type="datetime'''Zhu'' ''''G''''u''''o''''''f''''''''e''''''''''n''g'">
              <a:rPr lang="en-US" altLang="en-US">
                <a:solidFill>
                  <a:srgbClr val="898989"/>
                </a:solidFill>
              </a:rPr>
              <a:pPr/>
              <a:t>Zhu Guofeng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2" name="Rectangle 1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954463" y="1900238"/>
            <a:ext cx="865188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A0F774DE-35A1-4353-B99C-262747FAA4F0}" type="datetime'''''''''''''''''S''un ''W''''''ei''''''b''''''''''''o'''''''''">
              <a:rPr lang="en-US" altLang="en-US">
                <a:solidFill>
                  <a:srgbClr val="898989"/>
                </a:solidFill>
              </a:rPr>
              <a:pPr/>
              <a:t>Sun Weibo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3" name="Rectangle 1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954463" y="2427288"/>
            <a:ext cx="709613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9E24A7EF-913B-4819-B0EF-AE1322B603A4}" type="datetime'''''''''Z''''''''h''''''o''''''''''u'''''''' X''i''''n'''''''">
              <a:rPr lang="en-US" altLang="en-US">
                <a:solidFill>
                  <a:srgbClr val="898989"/>
                </a:solidFill>
              </a:rPr>
              <a:pPr/>
              <a:t>Zhou Xin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4" name="Rectangle 1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954463" y="2690813"/>
            <a:ext cx="93345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330FB7D9-38B3-495A-89B2-505D963BC068}" type="datetime'''''W''u ''''''J''''''i''''''an''''g''''''''b''''o'''''">
              <a:rPr lang="en-US" altLang="en-US">
                <a:solidFill>
                  <a:srgbClr val="898989"/>
                </a:solidFill>
              </a:rPr>
              <a:pPr/>
              <a:t>Wu Jiangbo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20750" y="6057900"/>
            <a:ext cx="2224088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主页更新</a:t>
            </a:r>
            <a:endParaRPr lang="en-US" altLang="zh-CN" sz="1400" dirty="0" smtClean="0"/>
          </a:p>
          <a:p>
            <a:r>
              <a:rPr lang="zh-CN" altLang="en-US" sz="1400" dirty="0" smtClean="0"/>
              <a:t>共更新次数</a:t>
            </a:r>
            <a:r>
              <a:rPr lang="en-US" altLang="zh-CN" sz="1400" dirty="0" smtClean="0"/>
              <a:t>84</a:t>
            </a:r>
            <a:endParaRPr lang="zh-CN" altLang="en-US" sz="1400" dirty="0"/>
          </a:p>
        </p:txBody>
      </p:sp>
      <p:graphicFrame>
        <p:nvGraphicFramePr>
          <p:cNvPr id="66" name="对象 65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344795083"/>
              </p:ext>
            </p:extLst>
          </p:nvPr>
        </p:nvGraphicFramePr>
        <p:xfrm>
          <a:off x="5410199" y="1714500"/>
          <a:ext cx="3057620" cy="3933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6596" name="Chart" r:id="rId44" imgW="3057620" imgH="3933742" progId="MSGraph.Chart.8">
                  <p:embed followColorScheme="full"/>
                </p:oleObj>
              </mc:Choice>
              <mc:Fallback>
                <p:oleObj name="Chart" r:id="rId44" imgW="3057620" imgH="393374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5410199" y="1714500"/>
                        <a:ext cx="3057620" cy="39337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7" name="直接连接符 66"/>
          <p:cNvCxnSpPr/>
          <p:nvPr>
            <p:custDataLst>
              <p:tags r:id="rId28"/>
            </p:custDataLst>
          </p:nvPr>
        </p:nvCxnSpPr>
        <p:spPr bwMode="auto">
          <a:xfrm flipV="1">
            <a:off x="6238875" y="1400175"/>
            <a:ext cx="0" cy="25622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8" name="直接连接符 67"/>
          <p:cNvCxnSpPr/>
          <p:nvPr>
            <p:custDataLst>
              <p:tags r:id="rId29"/>
            </p:custDataLst>
          </p:nvPr>
        </p:nvCxnSpPr>
        <p:spPr bwMode="auto">
          <a:xfrm>
            <a:off x="7662863" y="1400175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直接连接符 68"/>
          <p:cNvCxnSpPr/>
          <p:nvPr>
            <p:custDataLst>
              <p:tags r:id="rId30"/>
            </p:custDataLst>
          </p:nvPr>
        </p:nvCxnSpPr>
        <p:spPr bwMode="auto">
          <a:xfrm>
            <a:off x="6238875" y="1400175"/>
            <a:ext cx="1423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Rectangle 1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838825" y="5710238"/>
            <a:ext cx="80010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F458D1EA-9FA6-4C45-95BA-5AA3A921FA08}" type="datetime'2''01''7''''''''''''0''''''9''1''''''''''''4'''''''''''">
              <a:rPr lang="en-US" altLang="en-US">
                <a:solidFill>
                  <a:srgbClr val="898989"/>
                </a:solidFill>
              </a:rPr>
              <a:pPr/>
              <a:t>20170914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1" name="Rectangle 1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115050" y="4000500"/>
            <a:ext cx="24765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FADF6F35-C479-4D7F-8CE3-A90895C98E24}" type="datetime'''''''''''''''''''''''''''1''''''''''''''''''2'''">
              <a:rPr lang="en-US" altLang="en-US">
                <a:solidFill>
                  <a:srgbClr val="898989"/>
                </a:solidFill>
              </a:rPr>
              <a:pPr/>
              <a:t>12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2" name="Rectangle 1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5964238" y="4737100"/>
            <a:ext cx="149225" cy="212725"/>
          </a:xfrm>
          <a:prstGeom prst="rect">
            <a:avLst/>
          </a:prstGeom>
          <a:solidFill>
            <a:srgbClr val="6F8DB9"/>
          </a:solidFill>
          <a:ln w="9525">
            <a:noFill/>
            <a:miter lim="800000"/>
          </a:ln>
        </p:spPr>
        <p:txBody>
          <a:bodyPr vert="horz" wrap="none" lIns="25400" tIns="0" rIns="2540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48FA7C81-705F-44F1-AA6F-BDD4D32A4451}" type="datetime'''''1'''''''''''''''''''''''''''''''''''''''''''''''">
              <a:rPr lang="en-US" altLang="en-US">
                <a:solidFill>
                  <a:schemeClr val="bg1"/>
                </a:solidFill>
              </a:rPr>
              <a:pPr/>
              <a:t>1</a:t>
            </a:fld>
            <a:endParaRPr lang="en-US" altLang="zh-CN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3" name="Rectangle 10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5964238" y="4408488"/>
            <a:ext cx="149225" cy="212725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</a:ln>
        </p:spPr>
        <p:txBody>
          <a:bodyPr vert="horz" wrap="none" lIns="25400" tIns="0" rIns="2540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CC2E86C4-0B46-4394-A041-EBFFF8779144}" type="datetime'''1'''''''''''''''''''''''''''''''''''''''''">
              <a:rPr lang="en-US" altLang="en-US">
                <a:solidFill>
                  <a:srgbClr val="898989"/>
                </a:solidFill>
              </a:rPr>
              <a:pPr/>
              <a:t>1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4" name="Rectangle 1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7539038" y="1590675"/>
            <a:ext cx="24765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B6C722E-7EF3-4ABE-8593-410A7090EAFF}" type="datetime'''3''''''''''''''''''''''''''''''''''''''''''4'">
              <a:rPr lang="en-US" altLang="en-US">
                <a:solidFill>
                  <a:srgbClr val="898989"/>
                </a:solidFill>
              </a:rPr>
              <a:pPr/>
              <a:t>34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5" name="Rectangle 1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7588250" y="5394325"/>
            <a:ext cx="149225" cy="212725"/>
          </a:xfrm>
          <a:prstGeom prst="rect">
            <a:avLst/>
          </a:prstGeom>
          <a:solidFill>
            <a:srgbClr val="364D6E"/>
          </a:solidFill>
          <a:ln w="9525">
            <a:noFill/>
            <a:miter lim="800000"/>
          </a:ln>
        </p:spPr>
        <p:txBody>
          <a:bodyPr vert="horz" wrap="none" lIns="25400" tIns="0" rIns="2540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08C3804-F224-4087-B6FB-7F69F0ACD7E1}" type="datetime'''''''''1'''''''''''''''''''''''''''''''''''''''''''''''''">
              <a:rPr lang="en-US" altLang="en-US">
                <a:solidFill>
                  <a:schemeClr val="bg1"/>
                </a:solidFill>
              </a:rPr>
              <a:pPr/>
              <a:t>1</a:t>
            </a:fld>
            <a:endParaRPr lang="en-US" altLang="zh-CN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6" name="Rectangle 1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7262813" y="5710238"/>
            <a:ext cx="800100" cy="212725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F56CF090-AF95-4740-B65F-E8875A6E31C1}" type="datetime'2''''0''1''''7''0''''''9''1''''''''''''''''''''''''''5'''''''">
              <a:rPr lang="en-US" altLang="en-US">
                <a:solidFill>
                  <a:srgbClr val="898989"/>
                </a:solidFill>
              </a:rPr>
              <a:pPr/>
              <a:t>20170915</a:t>
            </a:fld>
            <a:endParaRPr lang="en-US" altLang="zh-CN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7" name="Rectangle 10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556375" y="1263650"/>
            <a:ext cx="78898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vert="horz" wrap="none" lIns="0" tIns="0" rIns="0" bIns="0" numCol="1" spcCol="0" anchor="ctr" anchorCtr="0" compatLnSpc="1">
            <a:noAutofit/>
          </a:bodyPr>
          <a:lstStyle>
            <a:lvl1pPr algn="l" defTabSz="762000" rtl="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530" indent="-17462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2pPr>
            <a:lvl3pPr marL="370205" indent="-192405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3pPr>
            <a:lvl4pPr marL="536575" indent="-1651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4pPr>
            <a:lvl5pPr marL="7162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5pPr>
            <a:lvl6pPr marL="11734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6pPr>
            <a:lvl7pPr marL="16306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7pPr>
            <a:lvl8pPr marL="20878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8pPr>
            <a:lvl9pPr marL="2545080" indent="-177800" algn="l" defTabSz="7620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6199615-0CDD-4274-9F1A-167834296C4E}" type="datetime'''''+''''1''''''''''''''8''3%'''''''''''''''''''">
              <a:rPr lang="en-US" altLang="en-US" b="1">
                <a:solidFill>
                  <a:srgbClr val="898989"/>
                </a:solidFill>
              </a:rPr>
              <a:pPr/>
              <a:t>+183%</a:t>
            </a:fld>
            <a:endParaRPr lang="en-US" altLang="zh-CN" b="1" dirty="0">
              <a:solidFill>
                <a:srgbClr val="898989"/>
              </a:solidFill>
              <a:sym typeface="+mn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964238" y="6057900"/>
            <a:ext cx="2224088" cy="587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逻辑模型更新</a:t>
            </a:r>
            <a:endParaRPr lang="en-US" altLang="zh-CN" sz="1400" dirty="0" smtClean="0"/>
          </a:p>
          <a:p>
            <a:r>
              <a:rPr lang="zh-CN" altLang="en-US" sz="1400" dirty="0" smtClean="0"/>
              <a:t>共更新次数</a:t>
            </a:r>
            <a:r>
              <a:rPr lang="en-US" altLang="zh-CN" sz="1400" dirty="0" smtClean="0"/>
              <a:t>46</a:t>
            </a:r>
            <a:endParaRPr lang="zh-CN" altLang="en-US" sz="1400" dirty="0"/>
          </a:p>
        </p:txBody>
      </p:sp>
      <p:sp>
        <p:nvSpPr>
          <p:cNvPr id="79" name="TextBox 78"/>
          <p:cNvSpPr txBox="1"/>
          <p:nvPr/>
        </p:nvSpPr>
        <p:spPr>
          <a:xfrm>
            <a:off x="438150" y="698500"/>
            <a:ext cx="331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b="1" dirty="0" smtClean="0"/>
              <a:t>WIKI</a:t>
            </a:r>
            <a:r>
              <a:rPr lang="zh-CN" altLang="en-US" sz="2000" b="1" dirty="0" smtClean="0"/>
              <a:t>修改记录</a:t>
            </a:r>
            <a:endParaRPr lang="zh-CN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15495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8LZtL_SvSRUwO4j0qJ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zqXh1cRrKn3YVlWYpV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XA7zcjT.6aDx._LIKP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m.4CHoS32pWBqj5tJM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UrAS9VTG.k7U36S5fm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PtO2HSTqEbyQVqfLO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EGnDtzRQmb4I9mJiF6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JbpS4RB.fPlk3zi5O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tkvClRQ2zNJaa8b92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d6J9m_QSaYwTH2AStD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UZkrXTLOzCaBKMz98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eIHwGCQb.GRqF_va98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lW6ZFRmSV5BITsIg_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wZPcVQkG3GqDb63c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pF0VzjTtixnDE.pagu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1716fsTJiNsVhDSzVn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KCy9zWSaW60CzLL7HO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XeKiRcQVugkKWsuzra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ucYckqS.qb80kHeelz_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ZZ5FSSSiW9_3pF4zEo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basetag"/>
  <p:tag name="KSO_WM_TEMPLATE_INDEX" val="2016432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CXEMGkSKSjzJD3ujFH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c8FQrLTxSAIRydBisD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JuqJtFQN6q__JxG04a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AGy4uMT2KX3L9kpiqo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UQv0viRnCHt5ug.AOY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Z4lbgTeWNCl0hga9d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kr1dRGQAS_3kH3t9cT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9GnkBlRVuzYRZ7ucgV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hCLwh1TNuQE4tUx_cg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07KCO2TGm9BBm8PXZO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basetag"/>
  <p:tag name="KSO_WM_TEMPLATE_INDEX" val="20164329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kqJDNuTk6dS8J4ntyZ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GHXuMDRY.qZxxVLIRh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_tN1czR_SC0Tb0mrTK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DVBEunRP6DaOIVD_8F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Ckuj2PSR2h6VJfp.Pj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mbPr28R06rxqtg0UkJ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basetag"/>
  <p:tag name="KSO_WM_TEMPLATE_INDEX" val="20164329"/>
  <p:tag name="KSO_WM_TAG_VERSION" val="1.0"/>
  <p:tag name="KSO_WM_TEMPLATE_THUMBS_INDEX" val="1、2、3、4、6、7、8、10、12、14、21、22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basetag"/>
  <p:tag name="KSO_WM_TEMPLATE_INDEX" val="20164329"/>
  <p:tag name="KSO_WM_TAG_VERSION" val="1.0"/>
  <p:tag name="KSO_WM_SLIDE_ID" val="basetag20164329_1"/>
  <p:tag name="KSO_WM_SLIDE_INDEX" val="1"/>
  <p:tag name="KSO_WM_SLIDE_ITEM_CNT" val="0"/>
  <p:tag name="KSO_WM_SLIDE_TYPE" val="title"/>
  <p:tag name="KSO_WM_TEMPLATE_THUMBS_INDEX" val="1、2、3、4、6、7、8、10、12、14、21、22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basetag"/>
  <p:tag name="KSO_WM_TEMPLATE_INDEX" val="20164329"/>
  <p:tag name="KSO_WM_TAG_VERSION" val="1.0"/>
  <p:tag name="KSO_WM_SLIDE_ID" val="basetag20164329_2"/>
  <p:tag name="KSO_WM_SLIDE_INDEX" val="2"/>
  <p:tag name="KSO_WM_SLIDE_ITEM_CNT" val="0"/>
  <p:tag name="KSO_WM_SLIDE_TYPE" val="contents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etag20161326_docer585867.大气星空炫紫欧美商务总结汇报">
  <a:themeElements>
    <a:clrScheme name="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FFFFFF"/>
      </a:accent3>
      <a:accent4>
        <a:srgbClr val="000000"/>
      </a:accent4>
      <a:accent5>
        <a:srgbClr val="B5CBE7"/>
      </a:accent5>
      <a:accent6>
        <a:srgbClr val="D7712B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alt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79</TotalTime>
  <Words>1130</Words>
  <Application>Microsoft Office PowerPoint</Application>
  <PresentationFormat>全屏显示(4:3)</PresentationFormat>
  <Paragraphs>169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2" baseType="lpstr">
      <vt:lpstr>Arial</vt:lpstr>
      <vt:lpstr>宋体</vt:lpstr>
      <vt:lpstr>黑体</vt:lpstr>
      <vt:lpstr>Calibri Light</vt:lpstr>
      <vt:lpstr>Times New Roman</vt:lpstr>
      <vt:lpstr>Wingdings</vt:lpstr>
      <vt:lpstr>Lantinghei SC Extralight</vt:lpstr>
      <vt:lpstr>微软雅黑</vt:lpstr>
      <vt:lpstr>Calibri</vt:lpstr>
      <vt:lpstr>Microsoft JhengHei</vt:lpstr>
      <vt:lpstr>basetag20161326_docer585867.大气星空炫紫欧美商务总结汇报</vt:lpstr>
      <vt:lpstr>think-cell Slide</vt:lpstr>
      <vt:lpstr>Microsoft Graph Char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3 Investigation</dc:title>
  <dc:subject>Report</dc:subject>
  <dc:creator>Wu Jiangbo</dc:creator>
  <cp:keywords>C_Unrestricted</cp:keywords>
  <cp:lastModifiedBy>lv weijing 吕伟京</cp:lastModifiedBy>
  <cp:revision>2472</cp:revision>
  <dcterms:created xsi:type="dcterms:W3CDTF">2010-06-03T09:08:00Z</dcterms:created>
  <dcterms:modified xsi:type="dcterms:W3CDTF">2017-09-15T18:0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KSOProductBuildVer">
    <vt:lpwstr>2052-10.1.0.6749</vt:lpwstr>
  </property>
</Properties>
</file>